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5765" r:id="rId5"/>
  </p:sldIdLst>
  <p:sldSz cx="9906000" cy="6858000" type="A4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F26633"/>
    <a:srgbClr val="004182"/>
    <a:srgbClr val="FFFFFF"/>
    <a:srgbClr val="6F8DB9"/>
    <a:srgbClr val="C3CFE1"/>
    <a:srgbClr val="FF0000"/>
    <a:srgbClr val="DFE5EF"/>
    <a:srgbClr val="D9D9D9"/>
    <a:srgbClr val="364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950C22A-5938-48AD-AC46-6F03DFECC1A3}" v="58" dt="2024-09-05T12:02:10.646"/>
    <p1510:client id="{D7CEE91C-F44A-470B-8ED1-2194F4D6C504}" v="37" dt="2024-09-05T08:55:47.1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62" d="100"/>
          <a:sy n="62" d="100"/>
        </p:scale>
        <p:origin x="77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6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nold, Paul" userId="51be9bec-ade3-4e21-8ea3-a4fa8b9bed85" providerId="ADAL" clId="{50D65809-C001-418F-853F-807F7FC538E4}"/>
    <pc:docChg chg="undo custSel addSld delSld modSld sldOrd modSection replTag">
      <pc:chgData name="Menold, Paul" userId="51be9bec-ade3-4e21-8ea3-a4fa8b9bed85" providerId="ADAL" clId="{50D65809-C001-418F-853F-807F7FC538E4}" dt="2024-09-02T10:35:24.085" v="6661" actId="20577"/>
      <pc:docMkLst>
        <pc:docMk/>
      </pc:docMkLst>
      <pc:sldChg chg="modSp mod">
        <pc:chgData name="Menold, Paul" userId="51be9bec-ade3-4e21-8ea3-a4fa8b9bed85" providerId="ADAL" clId="{50D65809-C001-418F-853F-807F7FC538E4}" dt="2024-08-27T11:46:59.935" v="2" actId="20577"/>
        <pc:sldMkLst>
          <pc:docMk/>
          <pc:sldMk cId="712036009" sldId="256"/>
        </pc:sldMkLst>
        <pc:spChg chg="mod">
          <ac:chgData name="Menold, Paul" userId="51be9bec-ade3-4e21-8ea3-a4fa8b9bed85" providerId="ADAL" clId="{50D65809-C001-418F-853F-807F7FC538E4}" dt="2024-08-27T11:46:59.935" v="2" actId="20577"/>
          <ac:spMkLst>
            <pc:docMk/>
            <pc:sldMk cId="712036009" sldId="256"/>
            <ac:spMk id="3" creationId="{2AFD7684-7ABC-771D-3E7D-9FEE4807321A}"/>
          </ac:spMkLst>
        </pc:spChg>
      </pc:sldChg>
      <pc:sldChg chg="addSp delSp modSp add del mod modClrScheme chgLayout">
        <pc:chgData name="Menold, Paul" userId="51be9bec-ade3-4e21-8ea3-a4fa8b9bed85" providerId="ADAL" clId="{50D65809-C001-418F-853F-807F7FC538E4}" dt="2024-08-29T10:06:43.761" v="6644"/>
        <pc:sldMkLst>
          <pc:docMk/>
          <pc:sldMk cId="0" sldId="259"/>
        </pc:sldMkLst>
        <pc:spChg chg="add del mod ord">
          <ac:chgData name="Menold, Paul" userId="51be9bec-ade3-4e21-8ea3-a4fa8b9bed85" providerId="ADAL" clId="{50D65809-C001-418F-853F-807F7FC538E4}" dt="2024-08-29T10:05:23.810" v="6625" actId="700"/>
          <ac:spMkLst>
            <pc:docMk/>
            <pc:sldMk cId="0" sldId="259"/>
            <ac:spMk id="2" creationId="{0798AC0A-8826-49AB-B218-79D57ADE0F48}"/>
          </ac:spMkLst>
        </pc:spChg>
        <pc:spChg chg="mod">
          <ac:chgData name="Menold, Paul" userId="51be9bec-ade3-4e21-8ea3-a4fa8b9bed85" providerId="ADAL" clId="{50D65809-C001-418F-853F-807F7FC538E4}" dt="2024-08-29T10:06:43.761" v="6644"/>
          <ac:spMkLst>
            <pc:docMk/>
            <pc:sldMk cId="0" sldId="259"/>
            <ac:spMk id="3074" creationId="{00000000-0000-0000-0000-000000000000}"/>
          </ac:spMkLst>
        </pc:spChg>
        <pc:spChg chg="mod">
          <ac:chgData name="Menold, Paul" userId="51be9bec-ade3-4e21-8ea3-a4fa8b9bed85" providerId="ADAL" clId="{50D65809-C001-418F-853F-807F7FC538E4}" dt="2024-08-29T10:06:08.147" v="6641" actId="20577"/>
          <ac:spMkLst>
            <pc:docMk/>
            <pc:sldMk cId="0" sldId="259"/>
            <ac:spMk id="3075" creationId="{00000000-0000-0000-0000-000000000000}"/>
          </ac:spMkLst>
        </pc:spChg>
        <pc:graphicFrameChg chg="mod">
          <ac:chgData name="Menold, Paul" userId="51be9bec-ade3-4e21-8ea3-a4fa8b9bed85" providerId="ADAL" clId="{50D65809-C001-418F-853F-807F7FC538E4}" dt="2024-08-29T10:05:24.401" v="6629"/>
          <ac:graphicFrameMkLst>
            <pc:docMk/>
            <pc:sldMk cId="0" sldId="259"/>
            <ac:graphicFrameMk id="3" creationId="{530E04D5-ADB4-AD0E-6AA6-68F2847BE7AB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9.026" v="6575"/>
        <pc:sldMkLst>
          <pc:docMk/>
          <pc:sldMk cId="1126331544" sldId="261"/>
        </pc:sldMkLst>
        <pc:spChg chg="mod replST">
          <ac:chgData name="Menold, Paul" userId="51be9bec-ade3-4e21-8ea3-a4fa8b9bed85" providerId="ADAL" clId="{50D65809-C001-418F-853F-807F7FC538E4}" dt="2024-08-29T10:05:19.026" v="6575"/>
          <ac:spMkLst>
            <pc:docMk/>
            <pc:sldMk cId="1126331544" sldId="261"/>
            <ac:spMk id="116" creationId="{84451ADD-FBD8-C67E-6929-060BEFBD7A00}"/>
          </ac:spMkLst>
        </pc:spChg>
        <pc:spChg chg="mod replST">
          <ac:chgData name="Menold, Paul" userId="51be9bec-ade3-4e21-8ea3-a4fa8b9bed85" providerId="ADAL" clId="{50D65809-C001-418F-853F-807F7FC538E4}" dt="2024-08-29T10:05:19.021" v="6573"/>
          <ac:spMkLst>
            <pc:docMk/>
            <pc:sldMk cId="1126331544" sldId="261"/>
            <ac:spMk id="119" creationId="{86FF3A4B-4FF3-63C2-DCB4-86EC1C3627A8}"/>
          </ac:spMkLst>
        </pc:spChg>
        <pc:spChg chg="mod replST">
          <ac:chgData name="Menold, Paul" userId="51be9bec-ade3-4e21-8ea3-a4fa8b9bed85" providerId="ADAL" clId="{50D65809-C001-418F-853F-807F7FC538E4}" dt="2024-08-29T10:05:19.015" v="6571"/>
          <ac:spMkLst>
            <pc:docMk/>
            <pc:sldMk cId="1126331544" sldId="261"/>
            <ac:spMk id="123" creationId="{FE505344-ADC0-0203-6313-5C4BE3A70665}"/>
          </ac:spMkLst>
        </pc:spChg>
        <pc:spChg chg="mod replST">
          <ac:chgData name="Menold, Paul" userId="51be9bec-ade3-4e21-8ea3-a4fa8b9bed85" providerId="ADAL" clId="{50D65809-C001-418F-853F-807F7FC538E4}" dt="2024-08-29T10:05:19.010" v="6569"/>
          <ac:spMkLst>
            <pc:docMk/>
            <pc:sldMk cId="1126331544" sldId="261"/>
            <ac:spMk id="126" creationId="{B7E8BF89-BC02-AE18-FE71-F32789898EC0}"/>
          </ac:spMkLst>
        </pc:spChg>
        <pc:spChg chg="mod replST">
          <ac:chgData name="Menold, Paul" userId="51be9bec-ade3-4e21-8ea3-a4fa8b9bed85" providerId="ADAL" clId="{50D65809-C001-418F-853F-807F7FC538E4}" dt="2024-08-29T10:05:19.004" v="6567"/>
          <ac:spMkLst>
            <pc:docMk/>
            <pc:sldMk cId="1126331544" sldId="261"/>
            <ac:spMk id="129" creationId="{5409275A-F3DC-0673-5692-36C9AAD0C2A9}"/>
          </ac:spMkLst>
        </pc:spChg>
        <pc:spChg chg="mod replST">
          <ac:chgData name="Menold, Paul" userId="51be9bec-ade3-4e21-8ea3-a4fa8b9bed85" providerId="ADAL" clId="{50D65809-C001-418F-853F-807F7FC538E4}" dt="2024-08-29T10:05:18.999" v="6565"/>
          <ac:spMkLst>
            <pc:docMk/>
            <pc:sldMk cId="1126331544" sldId="261"/>
            <ac:spMk id="132" creationId="{BDCF5C04-A7B0-69B5-6DF1-BC6700F8FD68}"/>
          </ac:spMkLst>
        </pc:spChg>
      </pc:sldChg>
      <pc:sldChg chg="modSp mod">
        <pc:chgData name="Menold, Paul" userId="51be9bec-ade3-4e21-8ea3-a4fa8b9bed85" providerId="ADAL" clId="{50D65809-C001-418F-853F-807F7FC538E4}" dt="2024-08-29T10:05:19.092" v="6599"/>
        <pc:sldMkLst>
          <pc:docMk/>
          <pc:sldMk cId="3859139144" sldId="266"/>
        </pc:sldMkLst>
        <pc:spChg chg="mod replST">
          <ac:chgData name="Menold, Paul" userId="51be9bec-ade3-4e21-8ea3-a4fa8b9bed85" providerId="ADAL" clId="{50D65809-C001-418F-853F-807F7FC538E4}" dt="2024-08-29T10:05:19.092" v="6599"/>
          <ac:spMkLst>
            <pc:docMk/>
            <pc:sldMk cId="3859139144" sldId="266"/>
            <ac:spMk id="116" creationId="{4D16C110-B92A-D28B-CF65-EF1899BD820D}"/>
          </ac:spMkLst>
        </pc:spChg>
        <pc:spChg chg="mod replST">
          <ac:chgData name="Menold, Paul" userId="51be9bec-ade3-4e21-8ea3-a4fa8b9bed85" providerId="ADAL" clId="{50D65809-C001-418F-853F-807F7FC538E4}" dt="2024-08-29T10:05:19.086" v="6597"/>
          <ac:spMkLst>
            <pc:docMk/>
            <pc:sldMk cId="3859139144" sldId="266"/>
            <ac:spMk id="119" creationId="{C798BE65-E2D6-92E7-77BF-A50488B94ACA}"/>
          </ac:spMkLst>
        </pc:spChg>
        <pc:spChg chg="mod replST">
          <ac:chgData name="Menold, Paul" userId="51be9bec-ade3-4e21-8ea3-a4fa8b9bed85" providerId="ADAL" clId="{50D65809-C001-418F-853F-807F7FC538E4}" dt="2024-08-29T10:05:19.081" v="6595"/>
          <ac:spMkLst>
            <pc:docMk/>
            <pc:sldMk cId="3859139144" sldId="266"/>
            <ac:spMk id="122" creationId="{E8CD8CAD-DE42-B162-F863-831486C7609B}"/>
          </ac:spMkLst>
        </pc:spChg>
        <pc:spChg chg="mod replST">
          <ac:chgData name="Menold, Paul" userId="51be9bec-ade3-4e21-8ea3-a4fa8b9bed85" providerId="ADAL" clId="{50D65809-C001-418F-853F-807F7FC538E4}" dt="2024-08-29T10:05:19.076" v="6593"/>
          <ac:spMkLst>
            <pc:docMk/>
            <pc:sldMk cId="3859139144" sldId="266"/>
            <ac:spMk id="125" creationId="{543733D6-BA74-1D87-F084-082C6D30E83F}"/>
          </ac:spMkLst>
        </pc:spChg>
        <pc:spChg chg="mod replST">
          <ac:chgData name="Menold, Paul" userId="51be9bec-ade3-4e21-8ea3-a4fa8b9bed85" providerId="ADAL" clId="{50D65809-C001-418F-853F-807F7FC538E4}" dt="2024-08-29T10:05:19.070" v="6591"/>
          <ac:spMkLst>
            <pc:docMk/>
            <pc:sldMk cId="3859139144" sldId="266"/>
            <ac:spMk id="129" creationId="{4BDEC020-B9EB-7F40-99C8-3BDF98ECFDDC}"/>
          </ac:spMkLst>
        </pc:spChg>
        <pc:spChg chg="mod replST">
          <ac:chgData name="Menold, Paul" userId="51be9bec-ade3-4e21-8ea3-a4fa8b9bed85" providerId="ADAL" clId="{50D65809-C001-418F-853F-807F7FC538E4}" dt="2024-08-29T10:05:19.064" v="6589"/>
          <ac:spMkLst>
            <pc:docMk/>
            <pc:sldMk cId="3859139144" sldId="266"/>
            <ac:spMk id="132" creationId="{51A10260-7D6B-64A6-B2A3-97BB11EC6155}"/>
          </ac:spMkLst>
        </pc:spChg>
      </pc:sldChg>
      <pc:sldChg chg="modSp mod">
        <pc:chgData name="Menold, Paul" userId="51be9bec-ade3-4e21-8ea3-a4fa8b9bed85" providerId="ADAL" clId="{50D65809-C001-418F-853F-807F7FC538E4}" dt="2024-08-29T10:05:19.125" v="6611"/>
        <pc:sldMkLst>
          <pc:docMk/>
          <pc:sldMk cId="1762189987" sldId="268"/>
        </pc:sldMkLst>
        <pc:spChg chg="mod replST">
          <ac:chgData name="Menold, Paul" userId="51be9bec-ade3-4e21-8ea3-a4fa8b9bed85" providerId="ADAL" clId="{50D65809-C001-418F-853F-807F7FC538E4}" dt="2024-08-29T10:05:19.125" v="6611"/>
          <ac:spMkLst>
            <pc:docMk/>
            <pc:sldMk cId="1762189987" sldId="268"/>
            <ac:spMk id="197" creationId="{567B247E-187B-4ACC-80FC-5E1E646580C7}"/>
          </ac:spMkLst>
        </pc:spChg>
        <pc:spChg chg="mod replST">
          <ac:chgData name="Menold, Paul" userId="51be9bec-ade3-4e21-8ea3-a4fa8b9bed85" providerId="ADAL" clId="{50D65809-C001-418F-853F-807F7FC538E4}" dt="2024-08-29T10:05:19.120" v="6609"/>
          <ac:spMkLst>
            <pc:docMk/>
            <pc:sldMk cId="1762189987" sldId="268"/>
            <ac:spMk id="200" creationId="{94217F9D-C592-660D-6445-F982D72D5CDF}"/>
          </ac:spMkLst>
        </pc:spChg>
        <pc:spChg chg="mod replST">
          <ac:chgData name="Menold, Paul" userId="51be9bec-ade3-4e21-8ea3-a4fa8b9bed85" providerId="ADAL" clId="{50D65809-C001-418F-853F-807F7FC538E4}" dt="2024-08-29T10:05:19.114" v="6607"/>
          <ac:spMkLst>
            <pc:docMk/>
            <pc:sldMk cId="1762189987" sldId="268"/>
            <ac:spMk id="203" creationId="{1A62DB6D-03E9-E8E4-00C5-04132DBF0F2D}"/>
          </ac:spMkLst>
        </pc:spChg>
        <pc:spChg chg="mod replST">
          <ac:chgData name="Menold, Paul" userId="51be9bec-ade3-4e21-8ea3-a4fa8b9bed85" providerId="ADAL" clId="{50D65809-C001-418F-853F-807F7FC538E4}" dt="2024-08-29T10:05:19.109" v="6605"/>
          <ac:spMkLst>
            <pc:docMk/>
            <pc:sldMk cId="1762189987" sldId="268"/>
            <ac:spMk id="206" creationId="{6C6A5F44-E067-EA46-4C3B-6DEA05241FBC}"/>
          </ac:spMkLst>
        </pc:spChg>
        <pc:spChg chg="mod replST">
          <ac:chgData name="Menold, Paul" userId="51be9bec-ade3-4e21-8ea3-a4fa8b9bed85" providerId="ADAL" clId="{50D65809-C001-418F-853F-807F7FC538E4}" dt="2024-08-29T10:05:19.104" v="6603"/>
          <ac:spMkLst>
            <pc:docMk/>
            <pc:sldMk cId="1762189987" sldId="268"/>
            <ac:spMk id="209" creationId="{19EB9353-2AC1-18B1-2E67-EB462E65C9EB}"/>
          </ac:spMkLst>
        </pc:spChg>
        <pc:spChg chg="mod replST">
          <ac:chgData name="Menold, Paul" userId="51be9bec-ade3-4e21-8ea3-a4fa8b9bed85" providerId="ADAL" clId="{50D65809-C001-418F-853F-807F7FC538E4}" dt="2024-08-29T10:05:19.099" v="6601"/>
          <ac:spMkLst>
            <pc:docMk/>
            <pc:sldMk cId="1762189987" sldId="268"/>
            <ac:spMk id="213" creationId="{7173966A-CA44-9A0B-5B04-6327807D08F1}"/>
          </ac:spMkLst>
        </pc:spChg>
      </pc:sldChg>
      <pc:sldChg chg="modSp mod">
        <pc:chgData name="Menold, Paul" userId="51be9bec-ade3-4e21-8ea3-a4fa8b9bed85" providerId="ADAL" clId="{50D65809-C001-418F-853F-807F7FC538E4}" dt="2024-08-29T10:05:19.162" v="6623"/>
        <pc:sldMkLst>
          <pc:docMk/>
          <pc:sldMk cId="837155156" sldId="269"/>
        </pc:sldMkLst>
        <pc:spChg chg="mod replST">
          <ac:chgData name="Menold, Paul" userId="51be9bec-ade3-4e21-8ea3-a4fa8b9bed85" providerId="ADAL" clId="{50D65809-C001-418F-853F-807F7FC538E4}" dt="2024-08-29T10:05:19.162" v="6623"/>
          <ac:spMkLst>
            <pc:docMk/>
            <pc:sldMk cId="837155156" sldId="269"/>
            <ac:spMk id="116" creationId="{16013E71-1D2C-D94C-A722-5D2B6F37F612}"/>
          </ac:spMkLst>
        </pc:spChg>
        <pc:spChg chg="mod replST">
          <ac:chgData name="Menold, Paul" userId="51be9bec-ade3-4e21-8ea3-a4fa8b9bed85" providerId="ADAL" clId="{50D65809-C001-418F-853F-807F7FC538E4}" dt="2024-08-29T10:05:19.155" v="6621"/>
          <ac:spMkLst>
            <pc:docMk/>
            <pc:sldMk cId="837155156" sldId="269"/>
            <ac:spMk id="119" creationId="{46A4290E-C402-A96A-2B28-9FB89F747C3E}"/>
          </ac:spMkLst>
        </pc:spChg>
        <pc:spChg chg="mod replST">
          <ac:chgData name="Menold, Paul" userId="51be9bec-ade3-4e21-8ea3-a4fa8b9bed85" providerId="ADAL" clId="{50D65809-C001-418F-853F-807F7FC538E4}" dt="2024-08-29T10:05:19.149" v="6619"/>
          <ac:spMkLst>
            <pc:docMk/>
            <pc:sldMk cId="837155156" sldId="269"/>
            <ac:spMk id="122" creationId="{4BA45843-BE5A-A274-D4BD-8F7E99815DDB}"/>
          </ac:spMkLst>
        </pc:spChg>
        <pc:spChg chg="mod replST">
          <ac:chgData name="Menold, Paul" userId="51be9bec-ade3-4e21-8ea3-a4fa8b9bed85" providerId="ADAL" clId="{50D65809-C001-418F-853F-807F7FC538E4}" dt="2024-08-29T10:05:19.143" v="6617"/>
          <ac:spMkLst>
            <pc:docMk/>
            <pc:sldMk cId="837155156" sldId="269"/>
            <ac:spMk id="125" creationId="{6FF3B6A0-C67E-9DA7-D348-1511315AD9EF}"/>
          </ac:spMkLst>
        </pc:spChg>
        <pc:spChg chg="mod replST">
          <ac:chgData name="Menold, Paul" userId="51be9bec-ade3-4e21-8ea3-a4fa8b9bed85" providerId="ADAL" clId="{50D65809-C001-418F-853F-807F7FC538E4}" dt="2024-08-29T10:05:19.139" v="6615"/>
          <ac:spMkLst>
            <pc:docMk/>
            <pc:sldMk cId="837155156" sldId="269"/>
            <ac:spMk id="128" creationId="{07F5373E-5EEC-CCFA-C7BE-C7C5AE199497}"/>
          </ac:spMkLst>
        </pc:spChg>
        <pc:spChg chg="mod replST">
          <ac:chgData name="Menold, Paul" userId="51be9bec-ade3-4e21-8ea3-a4fa8b9bed85" providerId="ADAL" clId="{50D65809-C001-418F-853F-807F7FC538E4}" dt="2024-08-29T10:05:19.133" v="6613"/>
          <ac:spMkLst>
            <pc:docMk/>
            <pc:sldMk cId="837155156" sldId="269"/>
            <ac:spMk id="131" creationId="{6A0221BB-E301-C999-15A6-6A68D7C1B349}"/>
          </ac:spMkLst>
        </pc:spChg>
      </pc:sldChg>
      <pc:sldChg chg="addSp delSp modSp mod">
        <pc:chgData name="Menold, Paul" userId="51be9bec-ade3-4e21-8ea3-a4fa8b9bed85" providerId="ADAL" clId="{50D65809-C001-418F-853F-807F7FC538E4}" dt="2024-08-28T14:05:29.927" v="2101" actId="6549"/>
        <pc:sldMkLst>
          <pc:docMk/>
          <pc:sldMk cId="969142355" sldId="765"/>
        </pc:sldMkLst>
        <pc:spChg chg="mod">
          <ac:chgData name="Menold, Paul" userId="51be9bec-ade3-4e21-8ea3-a4fa8b9bed85" providerId="ADAL" clId="{50D65809-C001-418F-853F-807F7FC538E4}" dt="2024-08-28T14:05:29.927" v="2101" actId="6549"/>
          <ac:spMkLst>
            <pc:docMk/>
            <pc:sldMk cId="969142355" sldId="765"/>
            <ac:spMk id="3" creationId="{9CC90101-DADD-9E87-F6D6-27C2D18775F6}"/>
          </ac:spMkLst>
        </pc:spChg>
        <pc:spChg chg="add mod">
          <ac:chgData name="Menold, Paul" userId="51be9bec-ade3-4e21-8ea3-a4fa8b9bed85" providerId="ADAL" clId="{50D65809-C001-418F-853F-807F7FC538E4}" dt="2024-08-28T14:05:11.565" v="2096" actId="20577"/>
          <ac:spMkLst>
            <pc:docMk/>
            <pc:sldMk cId="969142355" sldId="765"/>
            <ac:spMk id="6" creationId="{68C36630-AC80-C6B2-23D2-8E0D20AC8FC2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8" creationId="{7FE356A5-92B8-59E8-5B5B-BF0CBA5A03DC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9" creationId="{355E62EF-4BE2-E18E-ECE3-57A5CE09B8F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0" creationId="{056DC9A1-3349-CA75-3D9C-672789E38E87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1" creationId="{34EE2609-8C9A-59A2-5519-77C321533BC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2" creationId="{6FE22F48-A77A-43D9-AFEC-174E946AED9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3" creationId="{8AB14F90-0E90-28A4-3F55-37A64440A7F0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4" creationId="{3C16871A-CA34-73A1-E18F-26F4F738120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5" creationId="{861B1B32-2843-0AF9-7E2F-0063493401BB}"/>
          </ac:spMkLst>
        </pc:spChg>
        <pc:spChg chg="add mod">
          <ac:chgData name="Menold, Paul" userId="51be9bec-ade3-4e21-8ea3-a4fa8b9bed85" providerId="ADAL" clId="{50D65809-C001-418F-853F-807F7FC538E4}" dt="2024-08-28T14:04:51.014" v="2019" actId="20577"/>
          <ac:spMkLst>
            <pc:docMk/>
            <pc:sldMk cId="969142355" sldId="765"/>
            <ac:spMk id="16" creationId="{9EC311AB-FD9F-EE02-5C4C-7E905BBE8EE3}"/>
          </ac:spMkLst>
        </pc:spChg>
        <pc:spChg chg="mod topLvl">
          <ac:chgData name="Menold, Paul" userId="51be9bec-ade3-4e21-8ea3-a4fa8b9bed85" providerId="ADAL" clId="{50D65809-C001-418F-853F-807F7FC538E4}" dt="2024-08-28T14:05:15.354" v="2097" actId="14100"/>
          <ac:spMkLst>
            <pc:docMk/>
            <pc:sldMk cId="969142355" sldId="765"/>
            <ac:spMk id="18" creationId="{7F12E1ED-6698-CD74-4165-16242F686E32}"/>
          </ac:spMkLst>
        </pc:spChg>
        <pc:spChg chg="mod topLvl">
          <ac:chgData name="Menold, Paul" userId="51be9bec-ade3-4e21-8ea3-a4fa8b9bed85" providerId="ADAL" clId="{50D65809-C001-418F-853F-807F7FC538E4}" dt="2024-08-28T14:05:22.010" v="2098" actId="1076"/>
          <ac:spMkLst>
            <pc:docMk/>
            <pc:sldMk cId="969142355" sldId="765"/>
            <ac:spMk id="19" creationId="{35B431C9-CCD6-905B-1CE8-05B9D801E982}"/>
          </ac:spMkLst>
        </pc:spChg>
        <pc:grpChg chg="del mod topLvl">
          <ac:chgData name="Menold, Paul" userId="51be9bec-ade3-4e21-8ea3-a4fa8b9bed85" providerId="ADAL" clId="{50D65809-C001-418F-853F-807F7FC538E4}" dt="2024-08-28T14:04:28.457" v="2016" actId="165"/>
          <ac:grpSpMkLst>
            <pc:docMk/>
            <pc:sldMk cId="969142355" sldId="765"/>
            <ac:grpSpMk id="7" creationId="{D5F991F2-73F5-90D8-A643-9074910B4506}"/>
          </ac:grpSpMkLst>
        </pc:grpChg>
        <pc:grpChg chg="del">
          <ac:chgData name="Menold, Paul" userId="51be9bec-ade3-4e21-8ea3-a4fa8b9bed85" providerId="ADAL" clId="{50D65809-C001-418F-853F-807F7FC538E4}" dt="2024-08-28T14:04:22.678" v="2014" actId="165"/>
          <ac:grpSpMkLst>
            <pc:docMk/>
            <pc:sldMk cId="969142355" sldId="765"/>
            <ac:grpSpMk id="20" creationId="{75BD9893-19C1-1695-1C08-E87884598A6B}"/>
          </ac:grpSpMkLst>
        </pc:grpChg>
      </pc:sldChg>
      <pc:sldChg chg="addSp delSp modSp mod">
        <pc:chgData name="Menold, Paul" userId="51be9bec-ade3-4e21-8ea3-a4fa8b9bed85" providerId="ADAL" clId="{50D65809-C001-418F-853F-807F7FC538E4}" dt="2024-08-28T13:42:56.602" v="116"/>
        <pc:sldMkLst>
          <pc:docMk/>
          <pc:sldMk cId="319059312" sldId="767"/>
        </pc:sldMkLst>
        <pc:spChg chg="mod">
          <ac:chgData name="Menold, Paul" userId="51be9bec-ade3-4e21-8ea3-a4fa8b9bed85" providerId="ADAL" clId="{50D65809-C001-418F-853F-807F7FC538E4}" dt="2024-08-28T13:42:56.555" v="93" actId="948"/>
          <ac:spMkLst>
            <pc:docMk/>
            <pc:sldMk cId="319059312" sldId="767"/>
            <ac:spMk id="2" creationId="{1D774331-19A7-AFCF-A226-0DB38850674C}"/>
          </ac:spMkLst>
        </pc:spChg>
        <pc:spChg chg="add del mod modVis">
          <ac:chgData name="Menold, Paul" userId="51be9bec-ade3-4e21-8ea3-a4fa8b9bed85" providerId="ADAL" clId="{50D65809-C001-418F-853F-807F7FC538E4}" dt="2024-08-28T13:42:56.599" v="114"/>
          <ac:spMkLst>
            <pc:docMk/>
            <pc:sldMk cId="319059312" sldId="767"/>
            <ac:spMk id="4" creationId="{AF9F581C-B1AB-6F7D-AC66-A973C290E779}"/>
          </ac:spMkLst>
        </pc:spChg>
        <pc:graphicFrameChg chg="mod">
          <ac:chgData name="Menold, Paul" userId="51be9bec-ade3-4e21-8ea3-a4fa8b9bed85" providerId="ADAL" clId="{50D65809-C001-418F-853F-807F7FC538E4}" dt="2024-08-28T13:42:56.602" v="116"/>
          <ac:graphicFrameMkLst>
            <pc:docMk/>
            <pc:sldMk cId="319059312" sldId="767"/>
            <ac:graphicFrameMk id="5" creationId="{ED93A27C-500D-005E-9FFD-001B805076F7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2:49.936" v="90"/>
        <pc:sldMkLst>
          <pc:docMk/>
          <pc:sldMk cId="3707553390" sldId="769"/>
        </pc:sldMkLst>
        <pc:spChg chg="mod">
          <ac:chgData name="Menold, Paul" userId="51be9bec-ade3-4e21-8ea3-a4fa8b9bed85" providerId="ADAL" clId="{50D65809-C001-418F-853F-807F7FC538E4}" dt="2024-08-28T13:42:49.902" v="67" actId="948"/>
          <ac:spMkLst>
            <pc:docMk/>
            <pc:sldMk cId="3707553390" sldId="769"/>
            <ac:spMk id="2" creationId="{381D9CEB-EE7D-C841-67FA-2610A7394ECE}"/>
          </ac:spMkLst>
        </pc:spChg>
        <pc:spChg chg="add del mod modVis">
          <ac:chgData name="Menold, Paul" userId="51be9bec-ade3-4e21-8ea3-a4fa8b9bed85" providerId="ADAL" clId="{50D65809-C001-418F-853F-807F7FC538E4}" dt="2024-08-28T13:42:49.932" v="88"/>
          <ac:spMkLst>
            <pc:docMk/>
            <pc:sldMk cId="3707553390" sldId="769"/>
            <ac:spMk id="6" creationId="{EEE3D9BC-40F5-44C5-4146-E73DB747FAA0}"/>
          </ac:spMkLst>
        </pc:spChg>
        <pc:graphicFrameChg chg="mod">
          <ac:chgData name="Menold, Paul" userId="51be9bec-ade3-4e21-8ea3-a4fa8b9bed85" providerId="ADAL" clId="{50D65809-C001-418F-853F-807F7FC538E4}" dt="2024-08-28T13:42:49.936" v="90"/>
          <ac:graphicFrameMkLst>
            <pc:docMk/>
            <pc:sldMk cId="3707553390" sldId="769"/>
            <ac:graphicFrameMk id="5" creationId="{034610DE-C10E-77F9-CA12-BCBBBBEA5FED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3:05.826" v="168"/>
        <pc:sldMkLst>
          <pc:docMk/>
          <pc:sldMk cId="152485573" sldId="770"/>
        </pc:sldMkLst>
        <pc:spChg chg="mod">
          <ac:chgData name="Menold, Paul" userId="51be9bec-ade3-4e21-8ea3-a4fa8b9bed85" providerId="ADAL" clId="{50D65809-C001-418F-853F-807F7FC538E4}" dt="2024-08-28T13:43:05.767" v="145" actId="948"/>
          <ac:spMkLst>
            <pc:docMk/>
            <pc:sldMk cId="152485573" sldId="770"/>
            <ac:spMk id="2" creationId="{12E44898-537F-35C7-CF40-A33DB78C3A6A}"/>
          </ac:spMkLst>
        </pc:spChg>
        <pc:spChg chg="add del mod modVis">
          <ac:chgData name="Menold, Paul" userId="51be9bec-ade3-4e21-8ea3-a4fa8b9bed85" providerId="ADAL" clId="{50D65809-C001-418F-853F-807F7FC538E4}" dt="2024-08-28T13:43:05.822" v="166"/>
          <ac:spMkLst>
            <pc:docMk/>
            <pc:sldMk cId="152485573" sldId="770"/>
            <ac:spMk id="4" creationId="{A78BF38E-7C7B-2A43-39C4-B31A540F6EE2}"/>
          </ac:spMkLst>
        </pc:spChg>
        <pc:graphicFrameChg chg="mod">
          <ac:chgData name="Menold, Paul" userId="51be9bec-ade3-4e21-8ea3-a4fa8b9bed85" providerId="ADAL" clId="{50D65809-C001-418F-853F-807F7FC538E4}" dt="2024-08-28T13:43:05.826" v="168"/>
          <ac:graphicFrameMkLst>
            <pc:docMk/>
            <pc:sldMk cId="152485573" sldId="770"/>
            <ac:graphicFrameMk id="5" creationId="{A9A70B1C-F17D-6B0C-1508-4ABBAAF824F8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4:07:38.299" v="2208" actId="1076"/>
        <pc:sldMkLst>
          <pc:docMk/>
          <pc:sldMk cId="2610752256" sldId="771"/>
        </pc:sldMkLst>
        <pc:spChg chg="mod">
          <ac:chgData name="Menold, Paul" userId="51be9bec-ade3-4e21-8ea3-a4fa8b9bed85" providerId="ADAL" clId="{50D65809-C001-418F-853F-807F7FC538E4}" dt="2024-08-28T13:43:11.815" v="198" actId="948"/>
          <ac:spMkLst>
            <pc:docMk/>
            <pc:sldMk cId="2610752256" sldId="771"/>
            <ac:spMk id="2" creationId="{58D6EE7F-AC2F-352E-879B-27B0FC6F1067}"/>
          </ac:spMkLst>
        </pc:spChg>
        <pc:spChg chg="add del mod modVis">
          <ac:chgData name="Menold, Paul" userId="51be9bec-ade3-4e21-8ea3-a4fa8b9bed85" providerId="ADAL" clId="{50D65809-C001-418F-853F-807F7FC538E4}" dt="2024-08-28T13:43:11.850" v="219"/>
          <ac:spMkLst>
            <pc:docMk/>
            <pc:sldMk cId="2610752256" sldId="771"/>
            <ac:spMk id="6" creationId="{4A138958-2269-F9B3-043A-F5A231D2BABD}"/>
          </ac:spMkLst>
        </pc:spChg>
        <pc:spChg chg="add mod">
          <ac:chgData name="Menold, Paul" userId="51be9bec-ade3-4e21-8ea3-a4fa8b9bed85" providerId="ADAL" clId="{50D65809-C001-418F-853F-807F7FC538E4}" dt="2024-08-28T14:07:32.939" v="2207" actId="120"/>
          <ac:spMkLst>
            <pc:docMk/>
            <pc:sldMk cId="2610752256" sldId="771"/>
            <ac:spMk id="13" creationId="{7672FEB4-CA3E-A923-AE7D-046EBCE0F6F9}"/>
          </ac:spMkLst>
        </pc:spChg>
        <pc:graphicFrameChg chg="mod">
          <ac:chgData name="Menold, Paul" userId="51be9bec-ade3-4e21-8ea3-a4fa8b9bed85" providerId="ADAL" clId="{50D65809-C001-418F-853F-807F7FC538E4}" dt="2024-08-28T13:43:11.852" v="221"/>
          <ac:graphicFrameMkLst>
            <pc:docMk/>
            <pc:sldMk cId="2610752256" sldId="771"/>
            <ac:graphicFrameMk id="5" creationId="{90907059-8883-84C2-D523-760C59430F1A}"/>
          </ac:graphicFrameMkLst>
        </pc:graphicFrameChg>
        <pc:picChg chg="add mod">
          <ac:chgData name="Menold, Paul" userId="51be9bec-ade3-4e21-8ea3-a4fa8b9bed85" providerId="ADAL" clId="{50D65809-C001-418F-853F-807F7FC538E4}" dt="2024-08-28T14:07:38.299" v="2208" actId="1076"/>
          <ac:picMkLst>
            <pc:docMk/>
            <pc:sldMk cId="2610752256" sldId="771"/>
            <ac:picMk id="8" creationId="{FBA1260D-9AE4-F4DB-9436-05B60916F572}"/>
          </ac:picMkLst>
        </pc:picChg>
      </pc:sldChg>
      <pc:sldChg chg="addSp delSp modSp mod">
        <pc:chgData name="Menold, Paul" userId="51be9bec-ade3-4e21-8ea3-a4fa8b9bed85" providerId="ADAL" clId="{50D65809-C001-418F-853F-807F7FC538E4}" dt="2024-08-28T13:45:41.573" v="636"/>
        <pc:sldMkLst>
          <pc:docMk/>
          <pc:sldMk cId="2811812046" sldId="789"/>
        </pc:sldMkLst>
        <pc:spChg chg="mod">
          <ac:chgData name="Menold, Paul" userId="51be9bec-ade3-4e21-8ea3-a4fa8b9bed85" providerId="ADAL" clId="{50D65809-C001-418F-853F-807F7FC538E4}" dt="2024-08-28T13:45:41.492" v="613" actId="948"/>
          <ac:spMkLst>
            <pc:docMk/>
            <pc:sldMk cId="2811812046" sldId="789"/>
            <ac:spMk id="2" creationId="{93DA7498-01F3-1BF3-72FC-56FC7E4BDCAB}"/>
          </ac:spMkLst>
        </pc:spChg>
        <pc:spChg chg="add del mod modVis">
          <ac:chgData name="Menold, Paul" userId="51be9bec-ade3-4e21-8ea3-a4fa8b9bed85" providerId="ADAL" clId="{50D65809-C001-418F-853F-807F7FC538E4}" dt="2024-08-28T13:43:19.358" v="271"/>
          <ac:spMkLst>
            <pc:docMk/>
            <pc:sldMk cId="2811812046" sldId="789"/>
            <ac:spMk id="6" creationId="{ECE425E9-9F47-8E0F-A385-ADD49A319171}"/>
          </ac:spMkLst>
        </pc:spChg>
        <pc:spChg chg="add del mod modVis">
          <ac:chgData name="Menold, Paul" userId="51be9bec-ade3-4e21-8ea3-a4fa8b9bed85" providerId="ADAL" clId="{50D65809-C001-418F-853F-807F7FC538E4}" dt="2024-08-28T13:45:41.568" v="634"/>
          <ac:spMkLst>
            <pc:docMk/>
            <pc:sldMk cId="2811812046" sldId="789"/>
            <ac:spMk id="7" creationId="{4D060378-A7E4-E0DC-9EFD-4E3517D01A45}"/>
          </ac:spMkLst>
        </pc:spChg>
        <pc:graphicFrameChg chg="mod">
          <ac:chgData name="Menold, Paul" userId="51be9bec-ade3-4e21-8ea3-a4fa8b9bed85" providerId="ADAL" clId="{50D65809-C001-418F-853F-807F7FC538E4}" dt="2024-08-28T13:45:41.573" v="636"/>
          <ac:graphicFrameMkLst>
            <pc:docMk/>
            <pc:sldMk cId="2811812046" sldId="789"/>
            <ac:graphicFrameMk id="5" creationId="{09F77523-A5A8-F043-13E9-4196E9BC6607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8T13:42:42.450" v="64" actId="11"/>
        <pc:sldMkLst>
          <pc:docMk/>
          <pc:sldMk cId="1507303022" sldId="792"/>
        </pc:sldMkLst>
        <pc:spChg chg="mod">
          <ac:chgData name="Menold, Paul" userId="51be9bec-ade3-4e21-8ea3-a4fa8b9bed85" providerId="ADAL" clId="{50D65809-C001-418F-853F-807F7FC538E4}" dt="2024-08-28T13:42:07.971" v="29" actId="1076"/>
          <ac:spMkLst>
            <pc:docMk/>
            <pc:sldMk cId="1507303022" sldId="792"/>
            <ac:spMk id="780018" creationId="{2DAAA0E0-4A39-3CCA-A9E1-ADC151F49F98}"/>
          </ac:spMkLst>
        </pc:spChg>
        <pc:spChg chg="mod">
          <ac:chgData name="Menold, Paul" userId="51be9bec-ade3-4e21-8ea3-a4fa8b9bed85" providerId="ADAL" clId="{50D65809-C001-418F-853F-807F7FC538E4}" dt="2024-08-28T13:42:34.887" v="63" actId="11"/>
          <ac:spMkLst>
            <pc:docMk/>
            <pc:sldMk cId="1507303022" sldId="792"/>
            <ac:spMk id="780019" creationId="{16BA6052-02DA-03D3-1425-29B9D9BF4810}"/>
          </ac:spMkLst>
        </pc:spChg>
        <pc:spChg chg="mod">
          <ac:chgData name="Menold, Paul" userId="51be9bec-ade3-4e21-8ea3-a4fa8b9bed85" providerId="ADAL" clId="{50D65809-C001-418F-853F-807F7FC538E4}" dt="2024-08-28T13:42:42.450" v="64" actId="11"/>
          <ac:spMkLst>
            <pc:docMk/>
            <pc:sldMk cId="1507303022" sldId="792"/>
            <ac:spMk id="780020" creationId="{66C5B1C8-5812-3961-30E6-9BFC7E9DA3ED}"/>
          </ac:spMkLst>
        </pc:spChg>
        <pc:spChg chg="mod">
          <ac:chgData name="Menold, Paul" userId="51be9bec-ade3-4e21-8ea3-a4fa8b9bed85" providerId="ADAL" clId="{50D65809-C001-418F-853F-807F7FC538E4}" dt="2024-08-28T13:42:07.971" v="29" actId="1076"/>
          <ac:spMkLst>
            <pc:docMk/>
            <pc:sldMk cId="1507303022" sldId="792"/>
            <ac:spMk id="780024" creationId="{D92D9A45-BE1B-C352-66DD-4FBBD3AB786B}"/>
          </ac:spMkLst>
        </pc:spChg>
      </pc:sldChg>
      <pc:sldChg chg="addSp delSp modSp mod">
        <pc:chgData name="Menold, Paul" userId="51be9bec-ade3-4e21-8ea3-a4fa8b9bed85" providerId="ADAL" clId="{50D65809-C001-418F-853F-807F7FC538E4}" dt="2024-08-28T13:43:08.553" v="195"/>
        <pc:sldMkLst>
          <pc:docMk/>
          <pc:sldMk cId="2822633791" sldId="815"/>
        </pc:sldMkLst>
        <pc:spChg chg="mod">
          <ac:chgData name="Menold, Paul" userId="51be9bec-ade3-4e21-8ea3-a4fa8b9bed85" providerId="ADAL" clId="{50D65809-C001-418F-853F-807F7FC538E4}" dt="2024-08-28T13:43:08.510" v="172" actId="948"/>
          <ac:spMkLst>
            <pc:docMk/>
            <pc:sldMk cId="2822633791" sldId="815"/>
            <ac:spMk id="2" creationId="{9F30344B-DB53-7F74-9FC8-D759A247E3B2}"/>
          </ac:spMkLst>
        </pc:spChg>
        <pc:spChg chg="add del mod modVis">
          <ac:chgData name="Menold, Paul" userId="51be9bec-ade3-4e21-8ea3-a4fa8b9bed85" providerId="ADAL" clId="{50D65809-C001-418F-853F-807F7FC538E4}" dt="2024-08-28T13:43:08.551" v="193"/>
          <ac:spMkLst>
            <pc:docMk/>
            <pc:sldMk cId="2822633791" sldId="815"/>
            <ac:spMk id="3" creationId="{61A8E15C-10F7-217A-9C39-1776D12DD583}"/>
          </ac:spMkLst>
        </pc:spChg>
        <pc:graphicFrameChg chg="mod">
          <ac:chgData name="Menold, Paul" userId="51be9bec-ade3-4e21-8ea3-a4fa8b9bed85" providerId="ADAL" clId="{50D65809-C001-418F-853F-807F7FC538E4}" dt="2024-08-28T13:43:08.553" v="195"/>
          <ac:graphicFrameMkLst>
            <pc:docMk/>
            <pc:sldMk cId="2822633791" sldId="815"/>
            <ac:graphicFrameMk id="10" creationId="{8F193A91-CD9C-BFCF-55A9-67803C4A315F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38.079" v="610"/>
        <pc:sldMkLst>
          <pc:docMk/>
          <pc:sldMk cId="1279281958" sldId="842"/>
        </pc:sldMkLst>
        <pc:spChg chg="mod">
          <ac:chgData name="Menold, Paul" userId="51be9bec-ade3-4e21-8ea3-a4fa8b9bed85" providerId="ADAL" clId="{50D65809-C001-418F-853F-807F7FC538E4}" dt="2024-08-28T13:45:38.020" v="587" actId="948"/>
          <ac:spMkLst>
            <pc:docMk/>
            <pc:sldMk cId="1279281958" sldId="842"/>
            <ac:spMk id="2" creationId="{17D73B31-1E6D-E6F1-24DB-F903FB85F9CE}"/>
          </ac:spMkLst>
        </pc:spChg>
        <pc:spChg chg="add del mod modVis">
          <ac:chgData name="Menold, Paul" userId="51be9bec-ade3-4e21-8ea3-a4fa8b9bed85" providerId="ADAL" clId="{50D65809-C001-418F-853F-807F7FC538E4}" dt="2024-08-28T13:43:14.777" v="245"/>
          <ac:spMkLst>
            <pc:docMk/>
            <pc:sldMk cId="1279281958" sldId="842"/>
            <ac:spMk id="3" creationId="{9041F5CE-2764-FCDE-5CEF-9FBFF01E350D}"/>
          </ac:spMkLst>
        </pc:spChg>
        <pc:spChg chg="add del mod modVis">
          <ac:chgData name="Menold, Paul" userId="51be9bec-ade3-4e21-8ea3-a4fa8b9bed85" providerId="ADAL" clId="{50D65809-C001-418F-853F-807F7FC538E4}" dt="2024-08-28T13:45:38.075" v="608"/>
          <ac:spMkLst>
            <pc:docMk/>
            <pc:sldMk cId="1279281958" sldId="842"/>
            <ac:spMk id="7" creationId="{72C4CABB-220C-3C85-6953-8DEB55AE2B01}"/>
          </ac:spMkLst>
        </pc:spChg>
        <pc:graphicFrameChg chg="mod">
          <ac:chgData name="Menold, Paul" userId="51be9bec-ade3-4e21-8ea3-a4fa8b9bed85" providerId="ADAL" clId="{50D65809-C001-418F-853F-807F7FC538E4}" dt="2024-08-28T13:45:38.079" v="610"/>
          <ac:graphicFrameMkLst>
            <pc:docMk/>
            <pc:sldMk cId="1279281958" sldId="842"/>
            <ac:graphicFrameMk id="5" creationId="{34EDE046-0C05-A2F9-2FC7-A813B3C09B98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45.338" v="662"/>
        <pc:sldMkLst>
          <pc:docMk/>
          <pc:sldMk cId="772142070" sldId="843"/>
        </pc:sldMkLst>
        <pc:spChg chg="mod">
          <ac:chgData name="Menold, Paul" userId="51be9bec-ade3-4e21-8ea3-a4fa8b9bed85" providerId="ADAL" clId="{50D65809-C001-418F-853F-807F7FC538E4}" dt="2024-08-28T13:45:45.289" v="639" actId="948"/>
          <ac:spMkLst>
            <pc:docMk/>
            <pc:sldMk cId="772142070" sldId="843"/>
            <ac:spMk id="2" creationId="{B94B7FAF-9776-73AC-002E-72D304BEEF0D}"/>
          </ac:spMkLst>
        </pc:spChg>
        <pc:spChg chg="add del mod modVis">
          <ac:chgData name="Menold, Paul" userId="51be9bec-ade3-4e21-8ea3-a4fa8b9bed85" providerId="ADAL" clId="{50D65809-C001-418F-853F-807F7FC538E4}" dt="2024-08-28T13:43:22.398" v="297"/>
          <ac:spMkLst>
            <pc:docMk/>
            <pc:sldMk cId="772142070" sldId="843"/>
            <ac:spMk id="3" creationId="{382224A2-BF27-77EF-F189-93C45FDC8FF8}"/>
          </ac:spMkLst>
        </pc:spChg>
        <pc:spChg chg="add del mod modVis">
          <ac:chgData name="Menold, Paul" userId="51be9bec-ade3-4e21-8ea3-a4fa8b9bed85" providerId="ADAL" clId="{50D65809-C001-418F-853F-807F7FC538E4}" dt="2024-08-28T13:45:45.333" v="660"/>
          <ac:spMkLst>
            <pc:docMk/>
            <pc:sldMk cId="772142070" sldId="843"/>
            <ac:spMk id="4" creationId="{71D8C078-41C5-0556-D4B9-F58B96CC689B}"/>
          </ac:spMkLst>
        </pc:spChg>
        <pc:graphicFrameChg chg="mod">
          <ac:chgData name="Menold, Paul" userId="51be9bec-ade3-4e21-8ea3-a4fa8b9bed85" providerId="ADAL" clId="{50D65809-C001-418F-853F-807F7FC538E4}" dt="2024-08-28T13:45:45.338" v="662"/>
          <ac:graphicFrameMkLst>
            <pc:docMk/>
            <pc:sldMk cId="772142070" sldId="843"/>
            <ac:graphicFrameMk id="5" creationId="{76678132-DFDE-6A2F-5B50-934F0DF19372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48.954" v="688"/>
        <pc:sldMkLst>
          <pc:docMk/>
          <pc:sldMk cId="1102400463" sldId="844"/>
        </pc:sldMkLst>
        <pc:spChg chg="mod">
          <ac:chgData name="Menold, Paul" userId="51be9bec-ade3-4e21-8ea3-a4fa8b9bed85" providerId="ADAL" clId="{50D65809-C001-418F-853F-807F7FC538E4}" dt="2024-08-28T13:45:48.893" v="665" actId="948"/>
          <ac:spMkLst>
            <pc:docMk/>
            <pc:sldMk cId="1102400463" sldId="844"/>
            <ac:spMk id="2" creationId="{88DBF6C6-562A-8831-E9D0-BA1498AB94A1}"/>
          </ac:spMkLst>
        </pc:spChg>
        <pc:spChg chg="add del mod modVis">
          <ac:chgData name="Menold, Paul" userId="51be9bec-ade3-4e21-8ea3-a4fa8b9bed85" providerId="ADAL" clId="{50D65809-C001-418F-853F-807F7FC538E4}" dt="2024-08-28T13:43:25.438" v="323"/>
          <ac:spMkLst>
            <pc:docMk/>
            <pc:sldMk cId="1102400463" sldId="844"/>
            <ac:spMk id="47" creationId="{898EDBF1-DB05-BD80-32F4-9947759F157B}"/>
          </ac:spMkLst>
        </pc:spChg>
        <pc:spChg chg="add del mod modVis">
          <ac:chgData name="Menold, Paul" userId="51be9bec-ade3-4e21-8ea3-a4fa8b9bed85" providerId="ADAL" clId="{50D65809-C001-418F-853F-807F7FC538E4}" dt="2024-08-28T13:45:48.951" v="686"/>
          <ac:spMkLst>
            <pc:docMk/>
            <pc:sldMk cId="1102400463" sldId="844"/>
            <ac:spMk id="48" creationId="{0FD74B7E-4BB4-7E87-E58C-EB41073B11B4}"/>
          </ac:spMkLst>
        </pc:spChg>
        <pc:graphicFrameChg chg="mod">
          <ac:chgData name="Menold, Paul" userId="51be9bec-ade3-4e21-8ea3-a4fa8b9bed85" providerId="ADAL" clId="{50D65809-C001-418F-853F-807F7FC538E4}" dt="2024-08-28T13:45:48.954" v="688"/>
          <ac:graphicFrameMkLst>
            <pc:docMk/>
            <pc:sldMk cId="1102400463" sldId="844"/>
            <ac:graphicFrameMk id="5" creationId="{BE122FFE-D184-B1BE-6AB8-3F21318DA215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8.992" v="6563"/>
        <pc:sldMkLst>
          <pc:docMk/>
          <pc:sldMk cId="333644351" sldId="847"/>
        </pc:sldMkLst>
        <pc:spChg chg="mod replST">
          <ac:chgData name="Menold, Paul" userId="51be9bec-ade3-4e21-8ea3-a4fa8b9bed85" providerId="ADAL" clId="{50D65809-C001-418F-853F-807F7FC538E4}" dt="2024-08-29T10:05:18.992" v="6563"/>
          <ac:spMkLst>
            <pc:docMk/>
            <pc:sldMk cId="333644351" sldId="847"/>
            <ac:spMk id="119" creationId="{BD907EB3-DAE3-322E-6612-5656E2A1501A}"/>
          </ac:spMkLst>
        </pc:spChg>
        <pc:spChg chg="mod replST">
          <ac:chgData name="Menold, Paul" userId="51be9bec-ade3-4e21-8ea3-a4fa8b9bed85" providerId="ADAL" clId="{50D65809-C001-418F-853F-807F7FC538E4}" dt="2024-08-29T10:05:18.986" v="6561"/>
          <ac:spMkLst>
            <pc:docMk/>
            <pc:sldMk cId="333644351" sldId="847"/>
            <ac:spMk id="123" creationId="{67BAF23F-E554-E25D-A996-1A1558EF5E8D}"/>
          </ac:spMkLst>
        </pc:spChg>
        <pc:spChg chg="mod replST">
          <ac:chgData name="Menold, Paul" userId="51be9bec-ade3-4e21-8ea3-a4fa8b9bed85" providerId="ADAL" clId="{50D65809-C001-418F-853F-807F7FC538E4}" dt="2024-08-29T10:05:18.978" v="6559"/>
          <ac:spMkLst>
            <pc:docMk/>
            <pc:sldMk cId="333644351" sldId="847"/>
            <ac:spMk id="126" creationId="{E4DC88CE-2C1C-E99D-A5EA-BC5B0D2ECDA5}"/>
          </ac:spMkLst>
        </pc:spChg>
        <pc:spChg chg="mod replST">
          <ac:chgData name="Menold, Paul" userId="51be9bec-ade3-4e21-8ea3-a4fa8b9bed85" providerId="ADAL" clId="{50D65809-C001-418F-853F-807F7FC538E4}" dt="2024-08-29T10:05:18.971" v="6557"/>
          <ac:spMkLst>
            <pc:docMk/>
            <pc:sldMk cId="333644351" sldId="847"/>
            <ac:spMk id="129" creationId="{F2D50B3B-D8EC-FDE1-69A4-CA5327A726C5}"/>
          </ac:spMkLst>
        </pc:spChg>
        <pc:spChg chg="mod replST">
          <ac:chgData name="Menold, Paul" userId="51be9bec-ade3-4e21-8ea3-a4fa8b9bed85" providerId="ADAL" clId="{50D65809-C001-418F-853F-807F7FC538E4}" dt="2024-08-29T10:05:18.964" v="6555"/>
          <ac:spMkLst>
            <pc:docMk/>
            <pc:sldMk cId="333644351" sldId="847"/>
            <ac:spMk id="132" creationId="{67E986B9-FCF8-AA0E-37EA-3DE83BDBC0E0}"/>
          </ac:spMkLst>
        </pc:spChg>
        <pc:spChg chg="mod replST">
          <ac:chgData name="Menold, Paul" userId="51be9bec-ade3-4e21-8ea3-a4fa8b9bed85" providerId="ADAL" clId="{50D65809-C001-418F-853F-807F7FC538E4}" dt="2024-08-29T10:05:18.956" v="6553"/>
          <ac:spMkLst>
            <pc:docMk/>
            <pc:sldMk cId="333644351" sldId="847"/>
            <ac:spMk id="135" creationId="{95B4EE4B-693B-C17C-A7C9-5463E2C191E7}"/>
          </ac:spMkLst>
        </pc:spChg>
      </pc:sldChg>
      <pc:sldChg chg="addSp modSp mod">
        <pc:chgData name="Menold, Paul" userId="51be9bec-ade3-4e21-8ea3-a4fa8b9bed85" providerId="ADAL" clId="{50D65809-C001-418F-853F-807F7FC538E4}" dt="2024-08-28T14:13:04.224" v="2607" actId="20577"/>
        <pc:sldMkLst>
          <pc:docMk/>
          <pc:sldMk cId="682944" sldId="848"/>
        </pc:sldMkLst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8" creationId="{20A523A6-87E1-76BE-615D-9BDE3638FCD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9" creationId="{519DBC51-E56D-0522-C94E-6F7A92872CCE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0" creationId="{A3308478-5A89-739F-4A53-382C2B3DC693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1" creationId="{FD512102-9F49-1006-F76A-2D68A9B5E5C7}"/>
          </ac:spMkLst>
        </pc:spChg>
        <pc:spChg chg="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12" creationId="{CAB8C2B0-18BB-F4FD-FBA1-20453390457D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3" creationId="{D00610F7-9B55-8F41-850E-9EE0321E763D}"/>
          </ac:spMkLst>
        </pc:spChg>
        <pc:spChg chg="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14" creationId="{29F65E9F-5280-88F7-E760-DAB6ABF2C156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5" creationId="{28770B36-586D-E1F1-1CE9-DE9D06412DE2}"/>
          </ac:spMkLst>
        </pc:spChg>
        <pc:spChg chg="mod">
          <ac:chgData name="Menold, Paul" userId="51be9bec-ade3-4e21-8ea3-a4fa8b9bed85" providerId="ADAL" clId="{50D65809-C001-418F-853F-807F7FC538E4}" dt="2024-08-28T14:12:55.636" v="2606"/>
          <ac:spMkLst>
            <pc:docMk/>
            <pc:sldMk cId="682944" sldId="848"/>
            <ac:spMk id="16" creationId="{88FC7670-0BDF-C774-BCF9-F7DED746A341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3" creationId="{F1CC715C-59C6-18D2-FFB8-9746108A4868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4" creationId="{00856D80-56D8-4342-00E0-D32EE9A5F51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5" creationId="{982A18EA-7EDD-0796-98D8-B06AC27F464D}"/>
          </ac:spMkLst>
        </pc:spChg>
        <pc:spChg chg="mod">
          <ac:chgData name="Menold, Paul" userId="51be9bec-ade3-4e21-8ea3-a4fa8b9bed85" providerId="ADAL" clId="{50D65809-C001-418F-853F-807F7FC538E4}" dt="2024-08-28T14:12:44.463" v="2602"/>
          <ac:spMkLst>
            <pc:docMk/>
            <pc:sldMk cId="682944" sldId="848"/>
            <ac:spMk id="26" creationId="{697D3B15-0813-C88A-CFEC-484B105345C4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7" creationId="{0790A691-B6D1-E4EF-E1B3-2DD9E5F2F121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8" creationId="{1017C600-87AE-2C4B-D997-63FD33D37F2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9" creationId="{7F75A53A-BE69-8194-BEC9-9BB694DCF907}"/>
          </ac:spMkLst>
        </pc:spChg>
        <pc:spChg chg="mod">
          <ac:chgData name="Menold, Paul" userId="51be9bec-ade3-4e21-8ea3-a4fa8b9bed85" providerId="ADAL" clId="{50D65809-C001-418F-853F-807F7FC538E4}" dt="2024-08-28T14:12:44.465" v="2603"/>
          <ac:spMkLst>
            <pc:docMk/>
            <pc:sldMk cId="682944" sldId="848"/>
            <ac:spMk id="30" creationId="{68FD3208-5BC0-2EDA-CC0C-920FFC90FE9F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1" creationId="{1C5D5025-58C0-2BF9-0342-61957E18E83B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2" creationId="{8B35C9F2-D503-9C20-3BC9-9E671FC9E84F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3" creationId="{FDF02CA2-8667-0BE5-1C64-CCFC1C601047}"/>
          </ac:spMkLst>
        </pc:spChg>
        <pc:spChg chg="add mod">
          <ac:chgData name="Menold, Paul" userId="51be9bec-ade3-4e21-8ea3-a4fa8b9bed85" providerId="ADAL" clId="{50D65809-C001-418F-853F-807F7FC538E4}" dt="2024-08-28T14:13:04.224" v="2607" actId="20577"/>
          <ac:spMkLst>
            <pc:docMk/>
            <pc:sldMk cId="682944" sldId="848"/>
            <ac:spMk id="62" creationId="{91CD3AD2-D1AD-EB48-321F-41329CF76F3C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0" creationId="{F8AAD7D7-8F83-E920-8911-70BCA72736E6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1" creationId="{287718C5-AA82-368B-5586-5370E566E7E3}"/>
          </ac:spMkLst>
        </pc:spChg>
        <pc:spChg chg="add 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74" creationId="{4EFC9B0F-5FBF-7435-EE8B-9EC93BEFA8A7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9" creationId="{B49960D1-A5E5-123D-99B0-8D58AC18896B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80" creationId="{0E8C20AB-8BA6-98D7-5AA3-C2775E03165B}"/>
          </ac:spMkLst>
        </pc:sp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7" creationId="{281A84AC-54F9-43A0-8E52-2010FFF02DE3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8" creationId="{F0C29D73-8E9C-FA60-9805-9E8C2CB56C73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9" creationId="{411990ED-3FE1-310D-FD85-09B268E5424E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0" creationId="{E5A4B6D9-3A44-62CA-1886-CC112F979254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1" creationId="{D44B89DB-14CF-91AF-2790-565C686F8EAB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2" creationId="{6B545497-4268-4726-FD8B-DDE4D61A73C4}"/>
          </ac:cxnSpMkLst>
        </pc:cxnChg>
        <pc:cxnChg chg="add 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67" creationId="{65D9BAEB-F558-D4FF-B331-FB5F067A5FD0}"/>
          </ac:cxnSpMkLst>
        </pc:cxnChg>
        <pc:cxnChg chg="add mod">
          <ac:chgData name="Menold, Paul" userId="51be9bec-ade3-4e21-8ea3-a4fa8b9bed85" providerId="ADAL" clId="{50D65809-C001-418F-853F-807F7FC538E4}" dt="2024-08-28T14:12:39.967" v="2600" actId="408"/>
          <ac:cxnSpMkLst>
            <pc:docMk/>
            <pc:sldMk cId="682944" sldId="848"/>
            <ac:cxnSpMk id="76" creationId="{D94A6499-F558-38CC-EF6F-515C86587C74}"/>
          </ac:cxnSpMkLst>
        </pc:cxnChg>
      </pc:sldChg>
      <pc:sldChg chg="addSp delSp modSp mod">
        <pc:chgData name="Menold, Paul" userId="51be9bec-ade3-4e21-8ea3-a4fa8b9bed85" providerId="ADAL" clId="{50D65809-C001-418F-853F-807F7FC538E4}" dt="2024-08-29T08:54:23.151" v="2645" actId="408"/>
        <pc:sldMkLst>
          <pc:docMk/>
          <pc:sldMk cId="3892068153" sldId="857"/>
        </pc:sldMkLst>
        <pc:spChg chg="add mod">
          <ac:chgData name="Menold, Paul" userId="51be9bec-ade3-4e21-8ea3-a4fa8b9bed85" providerId="ADAL" clId="{50D65809-C001-418F-853F-807F7FC538E4}" dt="2024-08-29T08:53:38.700" v="2640" actId="207"/>
          <ac:spMkLst>
            <pc:docMk/>
            <pc:sldMk cId="3892068153" sldId="857"/>
            <ac:spMk id="4" creationId="{88BEE99C-342F-70BF-3CDD-56A8E738A594}"/>
          </ac:spMkLst>
        </pc:spChg>
        <pc:spChg chg="add del mod">
          <ac:chgData name="Menold, Paul" userId="51be9bec-ade3-4e21-8ea3-a4fa8b9bed85" providerId="ADAL" clId="{50D65809-C001-418F-853F-807F7FC538E4}" dt="2024-08-29T08:52:57.331" v="2610" actId="478"/>
          <ac:spMkLst>
            <pc:docMk/>
            <pc:sldMk cId="3892068153" sldId="857"/>
            <ac:spMk id="14" creationId="{A553B375-B617-79F2-CB9E-6E448DD8475E}"/>
          </ac:spMkLst>
        </pc:spChg>
        <pc:spChg chg="mod">
          <ac:chgData name="Menold, Paul" userId="51be9bec-ade3-4e21-8ea3-a4fa8b9bed85" providerId="ADAL" clId="{50D65809-C001-418F-853F-807F7FC538E4}" dt="2024-08-29T08:54:20.980" v="2644" actId="1076"/>
          <ac:spMkLst>
            <pc:docMk/>
            <pc:sldMk cId="3892068153" sldId="857"/>
            <ac:spMk id="36" creationId="{8686177B-463A-2E8B-6A48-C256F7E34291}"/>
          </ac:spMkLst>
        </pc:spChg>
        <pc:spChg chg="mod">
          <ac:chgData name="Menold, Paul" userId="51be9bec-ade3-4e21-8ea3-a4fa8b9bed85" providerId="ADAL" clId="{50D65809-C001-418F-853F-807F7FC538E4}" dt="2024-08-29T08:54:23.151" v="2645" actId="408"/>
          <ac:spMkLst>
            <pc:docMk/>
            <pc:sldMk cId="3892068153" sldId="857"/>
            <ac:spMk id="37" creationId="{968752E1-BB45-F7A1-EBFE-C17DD90BB8CC}"/>
          </ac:spMkLst>
        </pc:spChg>
        <pc:spChg chg="mod">
          <ac:chgData name="Menold, Paul" userId="51be9bec-ade3-4e21-8ea3-a4fa8b9bed85" providerId="ADAL" clId="{50D65809-C001-418F-853F-807F7FC538E4}" dt="2024-08-29T08:54:02.815" v="2642" actId="1076"/>
          <ac:spMkLst>
            <pc:docMk/>
            <pc:sldMk cId="3892068153" sldId="857"/>
            <ac:spMk id="38" creationId="{778A97EC-A8CC-C58E-F731-4EBFAA62B5CE}"/>
          </ac:spMkLst>
        </pc:spChg>
        <pc:spChg chg="mod">
          <ac:chgData name="Menold, Paul" userId="51be9bec-ade3-4e21-8ea3-a4fa8b9bed85" providerId="ADAL" clId="{50D65809-C001-418F-853F-807F7FC538E4}" dt="2024-08-29T08:54:20.980" v="2644" actId="1076"/>
          <ac:spMkLst>
            <pc:docMk/>
            <pc:sldMk cId="3892068153" sldId="857"/>
            <ac:spMk id="39" creationId="{70152E3B-665D-125D-D8F7-02321B33A7DE}"/>
          </ac:spMkLst>
        </pc:spChg>
        <pc:spChg chg="mod">
          <ac:chgData name="Menold, Paul" userId="51be9bec-ade3-4e21-8ea3-a4fa8b9bed85" providerId="ADAL" clId="{50D65809-C001-418F-853F-807F7FC538E4}" dt="2024-08-29T08:54:23.151" v="2645" actId="408"/>
          <ac:spMkLst>
            <pc:docMk/>
            <pc:sldMk cId="3892068153" sldId="857"/>
            <ac:spMk id="40" creationId="{8EF07DB8-0246-44D2-47FF-8E0C78D04E14}"/>
          </ac:spMkLst>
        </pc:spChg>
        <pc:spChg chg="mod">
          <ac:chgData name="Menold, Paul" userId="51be9bec-ade3-4e21-8ea3-a4fa8b9bed85" providerId="ADAL" clId="{50D65809-C001-418F-853F-807F7FC538E4}" dt="2024-08-29T08:54:02.815" v="2642" actId="1076"/>
          <ac:spMkLst>
            <pc:docMk/>
            <pc:sldMk cId="3892068153" sldId="857"/>
            <ac:spMk id="41" creationId="{5CA57E02-DFBF-D25E-C726-7B51C57CA4B5}"/>
          </ac:spMkLst>
        </pc:spChg>
        <pc:spChg chg="mod">
          <ac:chgData name="Menold, Paul" userId="51be9bec-ade3-4e21-8ea3-a4fa8b9bed85" providerId="ADAL" clId="{50D65809-C001-418F-853F-807F7FC538E4}" dt="2024-08-29T08:53:42.265" v="2641" actId="14100"/>
          <ac:spMkLst>
            <pc:docMk/>
            <pc:sldMk cId="3892068153" sldId="857"/>
            <ac:spMk id="42" creationId="{44391029-A187-8D42-8BAE-774C30E7D36F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3" creationId="{EAE2E7A6-8025-F75E-55A6-419C0B9C6AD4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4" creationId="{803CEF11-B145-541F-074F-2BD5F37D9BBE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5" creationId="{36C08558-65B4-3015-68E5-BEE5C6D0EB52}"/>
          </ac:spMkLst>
        </pc:s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5" creationId="{E33D1DCF-4FB5-6A2A-921A-4D3D7A2A1D72}"/>
          </ac:grpSpMkLst>
        </pc:gr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6" creationId="{C3FE408D-D964-3A9D-45E6-BD0D831CB360}"/>
          </ac:grpSpMkLst>
        </pc:gr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7" creationId="{8B0A3B9E-5E27-D957-280B-42A62E2A5F0B}"/>
          </ac:grpSpMkLst>
        </pc:grpChg>
      </pc:sldChg>
      <pc:sldChg chg="del">
        <pc:chgData name="Menold, Paul" userId="51be9bec-ade3-4e21-8ea3-a4fa8b9bed85" providerId="ADAL" clId="{50D65809-C001-418F-853F-807F7FC538E4}" dt="2024-08-29T10:03:42.842" v="6512" actId="47"/>
        <pc:sldMkLst>
          <pc:docMk/>
          <pc:sldMk cId="2647470013" sldId="927"/>
        </pc:sldMkLst>
      </pc:sldChg>
      <pc:sldChg chg="del">
        <pc:chgData name="Menold, Paul" userId="51be9bec-ade3-4e21-8ea3-a4fa8b9bed85" providerId="ADAL" clId="{50D65809-C001-418F-853F-807F7FC538E4}" dt="2024-08-29T10:03:36.418" v="6511" actId="47"/>
        <pc:sldMkLst>
          <pc:docMk/>
          <pc:sldMk cId="162910642" sldId="930"/>
        </pc:sldMkLst>
      </pc:sldChg>
      <pc:sldChg chg="addSp delSp modSp mod">
        <pc:chgData name="Menold, Paul" userId="51be9bec-ade3-4e21-8ea3-a4fa8b9bed85" providerId="ADAL" clId="{50D65809-C001-418F-853F-807F7FC538E4}" dt="2024-08-29T10:03:04.496" v="6510" actId="1076"/>
        <pc:sldMkLst>
          <pc:docMk/>
          <pc:sldMk cId="276809755" sldId="938"/>
        </pc:sldMkLst>
        <pc:spChg chg="mod ord">
          <ac:chgData name="Menold, Paul" userId="51be9bec-ade3-4e21-8ea3-a4fa8b9bed85" providerId="ADAL" clId="{50D65809-C001-418F-853F-807F7FC538E4}" dt="2024-08-29T10:00:48.522" v="6455"/>
          <ac:spMkLst>
            <pc:docMk/>
            <pc:sldMk cId="276809755" sldId="938"/>
            <ac:spMk id="2" creationId="{EF000432-ED63-C8D4-B328-8CFE6506EF07}"/>
          </ac:spMkLst>
        </pc:spChg>
        <pc:spChg chg="mod ord">
          <ac:chgData name="Menold, Paul" userId="51be9bec-ade3-4e21-8ea3-a4fa8b9bed85" providerId="ADAL" clId="{50D65809-C001-418F-853F-807F7FC538E4}" dt="2024-08-29T10:00:48.526" v="6457"/>
          <ac:spMkLst>
            <pc:docMk/>
            <pc:sldMk cId="276809755" sldId="938"/>
            <ac:spMk id="3" creationId="{E2BDA6C7-60F3-405C-67B2-156275F0A6F7}"/>
          </ac:spMkLst>
        </pc:spChg>
        <pc:spChg chg="mod">
          <ac:chgData name="Menold, Paul" userId="51be9bec-ade3-4e21-8ea3-a4fa8b9bed85" providerId="ADAL" clId="{50D65809-C001-418F-853F-807F7FC538E4}" dt="2024-08-29T10:00:48.528" v="6458"/>
          <ac:spMkLst>
            <pc:docMk/>
            <pc:sldMk cId="276809755" sldId="938"/>
            <ac:spMk id="4" creationId="{7FB06841-E194-BF69-586F-1FF199068C52}"/>
          </ac:spMkLst>
        </pc:spChg>
        <pc:spChg chg="add del mod modVis">
          <ac:chgData name="Menold, Paul" userId="51be9bec-ade3-4e21-8ea3-a4fa8b9bed85" providerId="ADAL" clId="{50D65809-C001-418F-853F-807F7FC538E4}" dt="2024-08-29T09:58:37.973" v="6318"/>
          <ac:spMkLst>
            <pc:docMk/>
            <pc:sldMk cId="276809755" sldId="938"/>
            <ac:spMk id="5" creationId="{2C8EC652-C7F6-6A97-A4AF-0AFFAC20A520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7" creationId="{C21A78D4-2ADE-2822-C5E1-93260250EF1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9" creationId="{B4573C2B-3599-526B-8510-450770E6266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0" creationId="{E0D1BD6B-1846-E176-F2B5-ADD051CE65B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1" creationId="{237D0502-77EC-C2E4-60CB-069F58DFD971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2" creationId="{AA51DA69-A842-B96C-CEA6-BC04B9AB9205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3" creationId="{F22D9310-4E2C-EB1C-BCE5-B28C0881D8ED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4" creationId="{B557B5E2-A483-7FC1-9476-E01AFDA75E56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5" creationId="{6F74E0C9-BECB-CD93-6988-739D53934FA1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6" creationId="{C8B610EE-3B50-C6FB-4AA6-B3B7953D2C9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7" creationId="{6660931B-3878-31C2-2525-339F6A1A95B8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8" creationId="{F556CE40-F1FA-9491-BBB0-F777D8470100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24" creationId="{57FD7C29-2331-E240-D28D-38A214A071A9}"/>
          </ac:spMkLst>
        </pc:spChg>
        <pc:spChg chg="mod">
          <ac:chgData name="Menold, Paul" userId="51be9bec-ade3-4e21-8ea3-a4fa8b9bed85" providerId="ADAL" clId="{50D65809-C001-418F-853F-807F7FC538E4}" dt="2024-08-29T09:59:55.903" v="6442" actId="790"/>
          <ac:spMkLst>
            <pc:docMk/>
            <pc:sldMk cId="276809755" sldId="938"/>
            <ac:spMk id="33" creationId="{74F7743B-101D-984D-03ED-4D507D744DC5}"/>
          </ac:spMkLst>
        </pc:spChg>
        <pc:spChg chg="add mod ord">
          <ac:chgData name="Menold, Paul" userId="51be9bec-ade3-4e21-8ea3-a4fa8b9bed85" providerId="ADAL" clId="{50D65809-C001-418F-853F-807F7FC538E4}" dt="2024-08-29T10:01:38.970" v="6502" actId="208"/>
          <ac:spMkLst>
            <pc:docMk/>
            <pc:sldMk cId="276809755" sldId="938"/>
            <ac:spMk id="34" creationId="{5D806D40-8788-A600-9987-FBC49E0B4BA8}"/>
          </ac:spMkLst>
        </pc:spChg>
        <pc:spChg chg="add mod">
          <ac:chgData name="Menold, Paul" userId="51be9bec-ade3-4e21-8ea3-a4fa8b9bed85" providerId="ADAL" clId="{50D65809-C001-418F-853F-807F7FC538E4}" dt="2024-08-29T10:03:04.496" v="6510" actId="1076"/>
          <ac:spMkLst>
            <pc:docMk/>
            <pc:sldMk cId="276809755" sldId="938"/>
            <ac:spMk id="35" creationId="{5AA6BE52-318E-06C4-4438-CA7367F9CC6B}"/>
          </ac:spMkLst>
        </pc:spChg>
        <pc:grpChg chg="mod">
          <ac:chgData name="Menold, Paul" userId="51be9bec-ade3-4e21-8ea3-a4fa8b9bed85" providerId="ADAL" clId="{50D65809-C001-418F-853F-807F7FC538E4}" dt="2024-08-29T10:00:48.531" v="6459"/>
          <ac:grpSpMkLst>
            <pc:docMk/>
            <pc:sldMk cId="276809755" sldId="938"/>
            <ac:grpSpMk id="6" creationId="{62667245-5815-6CB5-A8AD-4A0569C8A04D}"/>
          </ac:grpSpMkLst>
        </pc:grpChg>
        <pc:grpChg chg="add mod">
          <ac:chgData name="Menold, Paul" userId="51be9bec-ade3-4e21-8ea3-a4fa8b9bed85" providerId="ADAL" clId="{50D65809-C001-418F-853F-807F7FC538E4}" dt="2024-08-29T10:00:48.519" v="6453"/>
          <ac:grpSpMkLst>
            <pc:docMk/>
            <pc:sldMk cId="276809755" sldId="938"/>
            <ac:grpSpMk id="31" creationId="{0EA08620-A033-E947-C5B5-09A925C5F167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10:00:48.542" v="6463"/>
          <ac:graphicFrameMkLst>
            <pc:docMk/>
            <pc:sldMk cId="276809755" sldId="938"/>
            <ac:graphicFrameMk id="30" creationId="{FC3BFF80-F30C-810B-A739-52DB8EBB8D41}"/>
          </ac:graphicFrameMkLst>
        </pc:graphicFrameChg>
        <pc:picChg chg="mod">
          <ac:chgData name="Menold, Paul" userId="51be9bec-ade3-4e21-8ea3-a4fa8b9bed85" providerId="ADAL" clId="{50D65809-C001-418F-853F-807F7FC538E4}" dt="2024-08-29T09:59:24.863" v="6375" actId="1076"/>
          <ac:picMkLst>
            <pc:docMk/>
            <pc:sldMk cId="276809755" sldId="938"/>
            <ac:picMk id="32" creationId="{B08A8B5D-16CE-2F43-2E6E-7837C4402C6D}"/>
          </ac:picMkLst>
        </pc:picChg>
        <pc:picChg chg="add mod">
          <ac:chgData name="Menold, Paul" userId="51be9bec-ade3-4e21-8ea3-a4fa8b9bed85" providerId="ADAL" clId="{50D65809-C001-418F-853F-807F7FC538E4}" dt="2024-08-29T10:03:00.748" v="6509" actId="1076"/>
          <ac:picMkLst>
            <pc:docMk/>
            <pc:sldMk cId="276809755" sldId="938"/>
            <ac:picMk id="37" creationId="{098623F9-0A90-77FC-B1C9-2F414CA7B008}"/>
          </ac:picMkLst>
        </pc:pic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8" creationId="{02053214-34FA-3CBE-4A06-7E03D43CB32D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19" creationId="{D24BAAF5-5079-AB37-022E-8149BF6680C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0" creationId="{C7674101-D5AF-37D0-D763-A50ECE907A46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1" creationId="{6BDD0362-53D8-63FB-C479-C9A24136D48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2" creationId="{B8B3A145-31F5-D92D-AF92-5C2AC361DC23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3" creationId="{1375C4FE-AF0A-0241-EB9C-4215B75F564B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5" creationId="{95CF63B8-51B4-23CD-064C-60AB38E660B4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6" creationId="{28A62719-E586-957D-5AE4-8DC04A4D635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7" creationId="{59A7CF79-F3F6-C70F-1655-9771EAE9C336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8" creationId="{5BB99174-408B-B927-AD01-315DA8040E24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9" creationId="{E1604B7B-7E48-41E5-4D17-75F01D6BAFDF}"/>
          </ac:cxnSpMkLst>
        </pc:cxnChg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125622121" sldId="950"/>
        </pc:sldMkLst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2393603869" sldId="952"/>
        </pc:sldMkLst>
      </pc:sldChg>
      <pc:sldChg chg="del">
        <pc:chgData name="Menold, Paul" userId="51be9bec-ade3-4e21-8ea3-a4fa8b9bed85" providerId="ADAL" clId="{50D65809-C001-418F-853F-807F7FC538E4}" dt="2024-08-29T09:50:23.588" v="5098" actId="47"/>
        <pc:sldMkLst>
          <pc:docMk/>
          <pc:sldMk cId="1655310532" sldId="958"/>
        </pc:sldMkLst>
      </pc:sldChg>
      <pc:sldChg chg="del">
        <pc:chgData name="Menold, Paul" userId="51be9bec-ade3-4e21-8ea3-a4fa8b9bed85" providerId="ADAL" clId="{50D65809-C001-418F-853F-807F7FC538E4}" dt="2024-08-29T09:50:00.562" v="5061" actId="47"/>
        <pc:sldMkLst>
          <pc:docMk/>
          <pc:sldMk cId="4261730470" sldId="966"/>
        </pc:sldMkLst>
      </pc:sldChg>
      <pc:sldChg chg="modSp add del mod">
        <pc:chgData name="Menold, Paul" userId="51be9bec-ade3-4e21-8ea3-a4fa8b9bed85" providerId="ADAL" clId="{50D65809-C001-418F-853F-807F7FC538E4}" dt="2024-08-29T09:49:49.941" v="5060"/>
        <pc:sldMkLst>
          <pc:docMk/>
          <pc:sldMk cId="3591197081" sldId="969"/>
        </pc:sldMkLst>
        <pc:graphicFrameChg chg="mod">
          <ac:chgData name="Menold, Paul" userId="51be9bec-ade3-4e21-8ea3-a4fa8b9bed85" providerId="ADAL" clId="{50D65809-C001-418F-853F-807F7FC538E4}" dt="2024-08-29T09:49:49.941" v="5060"/>
          <ac:graphicFrameMkLst>
            <pc:docMk/>
            <pc:sldMk cId="3591197081" sldId="969"/>
            <ac:graphicFrameMk id="6" creationId="{651B0569-121E-6AC5-B995-74F66E95FD4E}"/>
          </ac:graphicFrameMkLst>
        </pc:graphicFrameChg>
      </pc:sldChg>
      <pc:sldChg chg="ord">
        <pc:chgData name="Menold, Paul" userId="51be9bec-ade3-4e21-8ea3-a4fa8b9bed85" providerId="ADAL" clId="{50D65809-C001-418F-853F-807F7FC538E4}" dt="2024-08-29T09:49:07.206" v="5056"/>
        <pc:sldMkLst>
          <pc:docMk/>
          <pc:sldMk cId="2347365697" sldId="974"/>
        </pc:sldMkLst>
      </pc:sldChg>
      <pc:sldChg chg="del">
        <pc:chgData name="Menold, Paul" userId="51be9bec-ade3-4e21-8ea3-a4fa8b9bed85" providerId="ADAL" clId="{50D65809-C001-418F-853F-807F7FC538E4}" dt="2024-08-29T09:48:55.127" v="5018" actId="47"/>
        <pc:sldMkLst>
          <pc:docMk/>
          <pc:sldMk cId="1670960" sldId="977"/>
        </pc:sldMkLst>
      </pc:sldChg>
      <pc:sldChg chg="del">
        <pc:chgData name="Menold, Paul" userId="51be9bec-ade3-4e21-8ea3-a4fa8b9bed85" providerId="ADAL" clId="{50D65809-C001-418F-853F-807F7FC538E4}" dt="2024-08-29T09:47:28.911" v="4943" actId="47"/>
        <pc:sldMkLst>
          <pc:docMk/>
          <pc:sldMk cId="1913400647" sldId="1032"/>
        </pc:sldMkLst>
      </pc:sldChg>
      <pc:sldChg chg="add del">
        <pc:chgData name="Menold, Paul" userId="51be9bec-ade3-4e21-8ea3-a4fa8b9bed85" providerId="ADAL" clId="{50D65809-C001-418F-853F-807F7FC538E4}" dt="2024-08-29T09:49:49.824" v="5058" actId="47"/>
        <pc:sldMkLst>
          <pc:docMk/>
          <pc:sldMk cId="2709908133" sldId="1052"/>
        </pc:sldMkLst>
      </pc:sldChg>
      <pc:sldChg chg="addSp delSp modSp mod">
        <pc:chgData name="Menold, Paul" userId="51be9bec-ade3-4e21-8ea3-a4fa8b9bed85" providerId="ADAL" clId="{50D65809-C001-418F-853F-807F7FC538E4}" dt="2024-08-28T13:43:02.493" v="142"/>
        <pc:sldMkLst>
          <pc:docMk/>
          <pc:sldMk cId="2613172441" sldId="1058"/>
        </pc:sldMkLst>
        <pc:spChg chg="mod">
          <ac:chgData name="Menold, Paul" userId="51be9bec-ade3-4e21-8ea3-a4fa8b9bed85" providerId="ADAL" clId="{50D65809-C001-418F-853F-807F7FC538E4}" dt="2024-08-28T13:43:02.460" v="119" actId="948"/>
          <ac:spMkLst>
            <pc:docMk/>
            <pc:sldMk cId="2613172441" sldId="1058"/>
            <ac:spMk id="2" creationId="{A0EBB7D4-1E01-E8D5-B43E-E986414463B2}"/>
          </ac:spMkLst>
        </pc:spChg>
        <pc:spChg chg="add del mod modVis">
          <ac:chgData name="Menold, Paul" userId="51be9bec-ade3-4e21-8ea3-a4fa8b9bed85" providerId="ADAL" clId="{50D65809-C001-418F-853F-807F7FC538E4}" dt="2024-08-28T13:43:02.490" v="140"/>
          <ac:spMkLst>
            <pc:docMk/>
            <pc:sldMk cId="2613172441" sldId="1058"/>
            <ac:spMk id="20" creationId="{CF9A49FE-319E-B739-FDA0-566160D62AF1}"/>
          </ac:spMkLst>
        </pc:spChg>
        <pc:graphicFrameChg chg="mod">
          <ac:chgData name="Menold, Paul" userId="51be9bec-ade3-4e21-8ea3-a4fa8b9bed85" providerId="ADAL" clId="{50D65809-C001-418F-853F-807F7FC538E4}" dt="2024-08-28T13:43:02.493" v="142"/>
          <ac:graphicFrameMkLst>
            <pc:docMk/>
            <pc:sldMk cId="2613172441" sldId="1058"/>
            <ac:graphicFrameMk id="21" creationId="{F9DAD16C-F745-08A3-AE99-28E31970A61E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9.056" v="6587"/>
        <pc:sldMkLst>
          <pc:docMk/>
          <pc:sldMk cId="649673416" sldId="1640"/>
        </pc:sldMkLst>
        <pc:spChg chg="mod replST">
          <ac:chgData name="Menold, Paul" userId="51be9bec-ade3-4e21-8ea3-a4fa8b9bed85" providerId="ADAL" clId="{50D65809-C001-418F-853F-807F7FC538E4}" dt="2024-08-29T10:05:19.056" v="6587"/>
          <ac:spMkLst>
            <pc:docMk/>
            <pc:sldMk cId="649673416" sldId="1640"/>
            <ac:spMk id="115" creationId="{4AD54000-0B1D-8C8C-4C7F-C290C0772817}"/>
          </ac:spMkLst>
        </pc:spChg>
        <pc:spChg chg="mod replST">
          <ac:chgData name="Menold, Paul" userId="51be9bec-ade3-4e21-8ea3-a4fa8b9bed85" providerId="ADAL" clId="{50D65809-C001-418F-853F-807F7FC538E4}" dt="2024-08-29T10:05:19.052" v="6585"/>
          <ac:spMkLst>
            <pc:docMk/>
            <pc:sldMk cId="649673416" sldId="1640"/>
            <ac:spMk id="118" creationId="{B1B38C56-4118-1075-ACFE-E61C60F780A3}"/>
          </ac:spMkLst>
        </pc:spChg>
        <pc:spChg chg="mod replST">
          <ac:chgData name="Menold, Paul" userId="51be9bec-ade3-4e21-8ea3-a4fa8b9bed85" providerId="ADAL" clId="{50D65809-C001-418F-853F-807F7FC538E4}" dt="2024-08-29T10:05:19.048" v="6583"/>
          <ac:spMkLst>
            <pc:docMk/>
            <pc:sldMk cId="649673416" sldId="1640"/>
            <ac:spMk id="121" creationId="{32A968F5-7C95-1731-8167-37CD63D4E10D}"/>
          </ac:spMkLst>
        </pc:spChg>
        <pc:spChg chg="mod replST">
          <ac:chgData name="Menold, Paul" userId="51be9bec-ade3-4e21-8ea3-a4fa8b9bed85" providerId="ADAL" clId="{50D65809-C001-418F-853F-807F7FC538E4}" dt="2024-08-29T10:05:19.042" v="6581"/>
          <ac:spMkLst>
            <pc:docMk/>
            <pc:sldMk cId="649673416" sldId="1640"/>
            <ac:spMk id="125" creationId="{43AC1578-81E8-AF8A-93B4-707E7C69409B}"/>
          </ac:spMkLst>
        </pc:spChg>
        <pc:spChg chg="mod replST">
          <ac:chgData name="Menold, Paul" userId="51be9bec-ade3-4e21-8ea3-a4fa8b9bed85" providerId="ADAL" clId="{50D65809-C001-418F-853F-807F7FC538E4}" dt="2024-08-29T10:05:19.037" v="6579"/>
          <ac:spMkLst>
            <pc:docMk/>
            <pc:sldMk cId="649673416" sldId="1640"/>
            <ac:spMk id="128" creationId="{A0A4C01C-FCBC-83B7-4E9D-0EC91F190AA3}"/>
          </ac:spMkLst>
        </pc:spChg>
        <pc:spChg chg="mod replST">
          <ac:chgData name="Menold, Paul" userId="51be9bec-ade3-4e21-8ea3-a4fa8b9bed85" providerId="ADAL" clId="{50D65809-C001-418F-853F-807F7FC538E4}" dt="2024-08-29T10:05:19.032" v="6577"/>
          <ac:spMkLst>
            <pc:docMk/>
            <pc:sldMk cId="649673416" sldId="1640"/>
            <ac:spMk id="131" creationId="{2EC16547-984D-5C12-A6B5-824BB1CF25A0}"/>
          </ac:spMkLst>
        </pc:spChg>
      </pc:sldChg>
      <pc:sldChg chg="modSp mod">
        <pc:chgData name="Menold, Paul" userId="51be9bec-ade3-4e21-8ea3-a4fa8b9bed85" providerId="ADAL" clId="{50D65809-C001-418F-853F-807F7FC538E4}" dt="2024-08-27T11:48:05.092" v="7" actId="207"/>
        <pc:sldMkLst>
          <pc:docMk/>
          <pc:sldMk cId="3583437470" sldId="1647"/>
        </pc:sldMkLst>
        <pc:spChg chg="mod">
          <ac:chgData name="Menold, Paul" userId="51be9bec-ade3-4e21-8ea3-a4fa8b9bed85" providerId="ADAL" clId="{50D65809-C001-418F-853F-807F7FC538E4}" dt="2024-08-27T11:48:00.452" v="6" actId="207"/>
          <ac:spMkLst>
            <pc:docMk/>
            <pc:sldMk cId="3583437470" sldId="1647"/>
            <ac:spMk id="16" creationId="{7A321964-11B4-98AE-9D9C-1CAD22D82B64}"/>
          </ac:spMkLst>
        </pc:spChg>
        <pc:spChg chg="mod">
          <ac:chgData name="Menold, Paul" userId="51be9bec-ade3-4e21-8ea3-a4fa8b9bed85" providerId="ADAL" clId="{50D65809-C001-418F-853F-807F7FC538E4}" dt="2024-08-27T11:48:05.092" v="7" actId="207"/>
          <ac:spMkLst>
            <pc:docMk/>
            <pc:sldMk cId="3583437470" sldId="1647"/>
            <ac:spMk id="17" creationId="{972A4BB1-5F66-44E5-A8D7-6F469134DC50}"/>
          </ac:spMkLst>
        </pc:spChg>
        <pc:spChg chg="mod">
          <ac:chgData name="Menold, Paul" userId="51be9bec-ade3-4e21-8ea3-a4fa8b9bed85" providerId="ADAL" clId="{50D65809-C001-418F-853F-807F7FC538E4}" dt="2024-08-27T11:47:53.517" v="5" actId="108"/>
          <ac:spMkLst>
            <pc:docMk/>
            <pc:sldMk cId="3583437470" sldId="1647"/>
            <ac:spMk id="25" creationId="{F65C2733-291E-744D-85B3-2A672B10CBEE}"/>
          </ac:spMkLst>
        </pc:spChg>
        <pc:spChg chg="mod">
          <ac:chgData name="Menold, Paul" userId="51be9bec-ade3-4e21-8ea3-a4fa8b9bed85" providerId="ADAL" clId="{50D65809-C001-418F-853F-807F7FC538E4}" dt="2024-08-27T11:47:40.222" v="3" actId="207"/>
          <ac:spMkLst>
            <pc:docMk/>
            <pc:sldMk cId="3583437470" sldId="1647"/>
            <ac:spMk id="26" creationId="{4C7FF63F-0871-9225-E98B-3A1D5A07ABDC}"/>
          </ac:spMkLst>
        </pc:spChg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3316705217" sldId="5748"/>
        </pc:sldMkLst>
      </pc:sldChg>
      <pc:sldChg chg="addSp delSp modSp mod modClrScheme chgLayout">
        <pc:chgData name="Menold, Paul" userId="51be9bec-ade3-4e21-8ea3-a4fa8b9bed85" providerId="ADAL" clId="{50D65809-C001-418F-853F-807F7FC538E4}" dt="2024-08-29T09:56:00.919" v="5761"/>
        <pc:sldMkLst>
          <pc:docMk/>
          <pc:sldMk cId="1391634669" sldId="5752"/>
        </pc:sldMkLst>
        <pc:spChg chg="mod ord">
          <ac:chgData name="Menold, Paul" userId="51be9bec-ade3-4e21-8ea3-a4fa8b9bed85" providerId="ADAL" clId="{50D65809-C001-418F-853F-807F7FC538E4}" dt="2024-08-29T09:56:00.834" v="5738" actId="948"/>
          <ac:spMkLst>
            <pc:docMk/>
            <pc:sldMk cId="1391634669" sldId="5752"/>
            <ac:spMk id="2" creationId="{0FD84424-812C-A0B9-8868-1D27FB690FD5}"/>
          </ac:spMkLst>
        </pc:spChg>
        <pc:spChg chg="mod ord">
          <ac:chgData name="Menold, Paul" userId="51be9bec-ade3-4e21-8ea3-a4fa8b9bed85" providerId="ADAL" clId="{50D65809-C001-418F-853F-807F7FC538E4}" dt="2024-08-29T09:56:00.206" v="5737" actId="700"/>
          <ac:spMkLst>
            <pc:docMk/>
            <pc:sldMk cId="1391634669" sldId="5752"/>
            <ac:spMk id="3" creationId="{F8B3872C-097A-4FE8-5CA9-A2E2E3821537}"/>
          </ac:spMkLst>
        </pc:spChg>
        <pc:spChg chg="add mod">
          <ac:chgData name="Menold, Paul" userId="51be9bec-ade3-4e21-8ea3-a4fa8b9bed85" providerId="ADAL" clId="{50D65809-C001-418F-853F-807F7FC538E4}" dt="2024-08-29T09:51:36.599" v="5153" actId="1076"/>
          <ac:spMkLst>
            <pc:docMk/>
            <pc:sldMk cId="1391634669" sldId="5752"/>
            <ac:spMk id="5" creationId="{2748C91B-6BF0-07FF-0811-ACB91052346A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7" creationId="{F4A9BB5A-1302-8B5B-AEE5-2483C5DE61E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8" creationId="{3BE7F1F6-CD46-9066-14AD-45D6DD8A761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9" creationId="{6753DAFE-53B3-FBCD-DE69-20EA24A40D5E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0" creationId="{240F4B43-9A90-80C6-BE0F-80597CCB417B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1" creationId="{7E51D12F-A599-94D5-5B58-74720EB035B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2" creationId="{347891F7-4A38-61E0-0788-76FE8EDB067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3" creationId="{F55862F2-3697-2BA5-A4CE-BA0E16229EDF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4" creationId="{779DC2CF-31A5-E924-5CE5-198EA309623A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5" creationId="{891913DB-6641-657E-ECED-4CEB19E1D75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6" creationId="{5BACDF56-EFB5-612A-17AF-BC964401CA14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7" creationId="{EF2385F8-30A7-A23C-39A8-B4CD44DFCE72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8" creationId="{1BCB4052-CDE3-808C-7EAC-9D9DB2ADF74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9" creationId="{4A097C3B-F288-A86B-8E2F-FA5D3E6AA8D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0" creationId="{65ACEBA6-3BDB-1431-EB99-2EBF3AEFA454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1" creationId="{EC93B02B-540F-6A65-C139-A885DBEB97EE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2" creationId="{A05CAE9C-17EB-EC47-81DA-2B14030DDD9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3" creationId="{FC737010-74BB-4989-1391-342C0FE58449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24" creationId="{4C6A3368-6761-6466-A03B-A672181DBF9B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25" creationId="{B7A19165-325C-4172-E691-00DDDC376B0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6" creationId="{3D884B21-68D5-6BAA-7406-210F99273DD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7" creationId="{E0D28361-761A-3D0A-6E24-2CFFEF059069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8" creationId="{E2DB2A0D-1042-247B-9D32-85026AB39FD9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0" creationId="{657D7B25-D230-55EA-6E7B-9B0DCBEDA563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2" creationId="{3CBA700E-0C3E-0312-68B7-06ECFBD93EBC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3" creationId="{79292C48-6A20-8BD4-581D-905A33B25B3D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6" creationId="{DDC48DA4-12B2-BC9F-31D0-F7EF0FEAFDDA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7" creationId="{A40BFAB1-2A21-6CEA-4C0E-316ABE06C9EE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8" creationId="{6F9608F2-481A-6A83-C338-F75B13E3D2CC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9" creationId="{43A15984-8476-BCDF-F9A3-6C0E6EE57EE1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0" creationId="{30F0E0BA-DC83-DEC2-D795-2DA0435A91F4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1" creationId="{1FCD26CC-1B57-1967-974A-712B003D96E5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2" creationId="{1BB371CB-B349-2E9C-A151-245C65BA5E9F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3" creationId="{B594B493-2A17-AC87-5E58-94FAAA4D8DE1}"/>
          </ac:spMkLst>
        </pc:spChg>
        <pc:spChg chg="mod">
          <ac:chgData name="Menold, Paul" userId="51be9bec-ade3-4e21-8ea3-a4fa8b9bed85" providerId="ADAL" clId="{50D65809-C001-418F-853F-807F7FC538E4}" dt="2024-08-29T09:52:56.764" v="5167" actId="1076"/>
          <ac:spMkLst>
            <pc:docMk/>
            <pc:sldMk cId="1391634669" sldId="5752"/>
            <ac:spMk id="44" creationId="{CE096184-1514-DC8A-99E0-09FD9A08780B}"/>
          </ac:spMkLst>
        </pc:spChg>
        <pc:spChg chg="add mod">
          <ac:chgData name="Menold, Paul" userId="51be9bec-ade3-4e21-8ea3-a4fa8b9bed85" providerId="ADAL" clId="{50D65809-C001-418F-853F-807F7FC538E4}" dt="2024-08-29T09:52:29.856" v="5159" actId="1076"/>
          <ac:spMkLst>
            <pc:docMk/>
            <pc:sldMk cId="1391634669" sldId="5752"/>
            <ac:spMk id="45" creationId="{76814D17-9F3D-2B0F-CF18-AA556F820127}"/>
          </ac:spMkLst>
        </pc:spChg>
        <pc:spChg chg="mod">
          <ac:chgData name="Menold, Paul" userId="51be9bec-ade3-4e21-8ea3-a4fa8b9bed85" providerId="ADAL" clId="{50D65809-C001-418F-853F-807F7FC538E4}" dt="2024-08-29T09:52:39.952" v="5160"/>
          <ac:spMkLst>
            <pc:docMk/>
            <pc:sldMk cId="1391634669" sldId="5752"/>
            <ac:spMk id="47" creationId="{4A3034A6-F11A-5E49-1DAB-E51D2328E6DB}"/>
          </ac:spMkLst>
        </pc:spChg>
        <pc:spChg chg="mod">
          <ac:chgData name="Menold, Paul" userId="51be9bec-ade3-4e21-8ea3-a4fa8b9bed85" providerId="ADAL" clId="{50D65809-C001-418F-853F-807F7FC538E4}" dt="2024-08-29T09:52:39.952" v="5160"/>
          <ac:spMkLst>
            <pc:docMk/>
            <pc:sldMk cId="1391634669" sldId="5752"/>
            <ac:spMk id="48" creationId="{0DFE1637-DD25-D075-42EB-0638749C5D27}"/>
          </ac:spMkLst>
        </pc:spChg>
        <pc:spChg chg="mod">
          <ac:chgData name="Menold, Paul" userId="51be9bec-ade3-4e21-8ea3-a4fa8b9bed85" providerId="ADAL" clId="{50D65809-C001-418F-853F-807F7FC538E4}" dt="2024-08-29T09:52:42.148" v="5161"/>
          <ac:spMkLst>
            <pc:docMk/>
            <pc:sldMk cId="1391634669" sldId="5752"/>
            <ac:spMk id="50" creationId="{6E38175C-A469-3D5C-295D-B6523A23FF0A}"/>
          </ac:spMkLst>
        </pc:spChg>
        <pc:spChg chg="mod">
          <ac:chgData name="Menold, Paul" userId="51be9bec-ade3-4e21-8ea3-a4fa8b9bed85" providerId="ADAL" clId="{50D65809-C001-418F-853F-807F7FC538E4}" dt="2024-08-29T09:52:42.148" v="5161"/>
          <ac:spMkLst>
            <pc:docMk/>
            <pc:sldMk cId="1391634669" sldId="5752"/>
            <ac:spMk id="51" creationId="{DE9606C1-93BB-D672-1207-FFA825DF1E15}"/>
          </ac:spMkLst>
        </pc:spChg>
        <pc:spChg chg="add mod">
          <ac:chgData name="Menold, Paul" userId="51be9bec-ade3-4e21-8ea3-a4fa8b9bed85" providerId="ADAL" clId="{50D65809-C001-418F-853F-807F7FC538E4}" dt="2024-08-29T09:53:22.247" v="5174" actId="1076"/>
          <ac:spMkLst>
            <pc:docMk/>
            <pc:sldMk cId="1391634669" sldId="5752"/>
            <ac:spMk id="52" creationId="{03FF0ABF-646A-4CBF-3D93-7D9255ADD4BE}"/>
          </ac:spMkLst>
        </pc:spChg>
        <pc:spChg chg="add mod">
          <ac:chgData name="Menold, Paul" userId="51be9bec-ade3-4e21-8ea3-a4fa8b9bed85" providerId="ADAL" clId="{50D65809-C001-418F-853F-807F7FC538E4}" dt="2024-08-29T09:53:19.593" v="5173" actId="1076"/>
          <ac:spMkLst>
            <pc:docMk/>
            <pc:sldMk cId="1391634669" sldId="5752"/>
            <ac:spMk id="53" creationId="{53B93147-2B24-E6BF-DAD9-BED64C6188B8}"/>
          </ac:spMkLst>
        </pc:spChg>
        <pc:spChg chg="add mod">
          <ac:chgData name="Menold, Paul" userId="51be9bec-ade3-4e21-8ea3-a4fa8b9bed85" providerId="ADAL" clId="{50D65809-C001-418F-853F-807F7FC538E4}" dt="2024-08-29T09:53:33.412" v="5175"/>
          <ac:spMkLst>
            <pc:docMk/>
            <pc:sldMk cId="1391634669" sldId="5752"/>
            <ac:spMk id="54" creationId="{61B12628-7399-EF0B-1527-A8959463DAB1}"/>
          </ac:spMkLst>
        </pc:spChg>
        <pc:spChg chg="add mod">
          <ac:chgData name="Menold, Paul" userId="51be9bec-ade3-4e21-8ea3-a4fa8b9bed85" providerId="ADAL" clId="{50D65809-C001-418F-853F-807F7FC538E4}" dt="2024-08-29T09:54:49.640" v="5400" actId="20577"/>
          <ac:spMkLst>
            <pc:docMk/>
            <pc:sldMk cId="1391634669" sldId="5752"/>
            <ac:spMk id="55" creationId="{8F502A27-9B2C-7A02-F688-A4C419647269}"/>
          </ac:spMkLst>
        </pc:spChg>
        <pc:spChg chg="add del">
          <ac:chgData name="Menold, Paul" userId="51be9bec-ade3-4e21-8ea3-a4fa8b9bed85" providerId="ADAL" clId="{50D65809-C001-418F-853F-807F7FC538E4}" dt="2024-08-29T09:53:40.032" v="5178" actId="478"/>
          <ac:spMkLst>
            <pc:docMk/>
            <pc:sldMk cId="1391634669" sldId="5752"/>
            <ac:spMk id="56" creationId="{81B4AB59-351C-CF2F-DCBD-2CC5B5ADEC4E}"/>
          </ac:spMkLst>
        </pc:spChg>
        <pc:spChg chg="add del mod modVis">
          <ac:chgData name="Menold, Paul" userId="51be9bec-ade3-4e21-8ea3-a4fa8b9bed85" providerId="ADAL" clId="{50D65809-C001-418F-853F-807F7FC538E4}" dt="2024-08-29T09:55:24.416" v="5426"/>
          <ac:spMkLst>
            <pc:docMk/>
            <pc:sldMk cId="1391634669" sldId="5752"/>
            <ac:spMk id="57" creationId="{763F2BBF-4856-19D4-367A-DAEC86F9EF14}"/>
          </ac:spMkLst>
        </pc:spChg>
        <pc:spChg chg="add del mod modVis">
          <ac:chgData name="Menold, Paul" userId="51be9bec-ade3-4e21-8ea3-a4fa8b9bed85" providerId="ADAL" clId="{50D65809-C001-418F-853F-807F7FC538E4}" dt="2024-08-29T09:55:27.630" v="5480"/>
          <ac:spMkLst>
            <pc:docMk/>
            <pc:sldMk cId="1391634669" sldId="5752"/>
            <ac:spMk id="59" creationId="{65E8D0B7-AF3B-9CFA-A54B-76B5EA6BDA1E}"/>
          </ac:spMkLst>
        </pc:spChg>
        <pc:spChg chg="add del mod modVis">
          <ac:chgData name="Menold, Paul" userId="51be9bec-ade3-4e21-8ea3-a4fa8b9bed85" providerId="ADAL" clId="{50D65809-C001-418F-853F-807F7FC538E4}" dt="2024-08-29T09:55:29.555" v="5517"/>
          <ac:spMkLst>
            <pc:docMk/>
            <pc:sldMk cId="1391634669" sldId="5752"/>
            <ac:spMk id="60" creationId="{A8F444B1-E423-C225-3F5C-8B6402AA352B}"/>
          </ac:spMkLst>
        </pc:spChg>
        <pc:spChg chg="add del mod modVis">
          <ac:chgData name="Menold, Paul" userId="51be9bec-ade3-4e21-8ea3-a4fa8b9bed85" providerId="ADAL" clId="{50D65809-C001-418F-853F-807F7FC538E4}" dt="2024-08-29T09:55:34.711" v="5566"/>
          <ac:spMkLst>
            <pc:docMk/>
            <pc:sldMk cId="1391634669" sldId="5752"/>
            <ac:spMk id="61" creationId="{18EE8929-F212-7900-FB28-1D943246C35E}"/>
          </ac:spMkLst>
        </pc:spChg>
        <pc:spChg chg="add del mod modVis">
          <ac:chgData name="Menold, Paul" userId="51be9bec-ade3-4e21-8ea3-a4fa8b9bed85" providerId="ADAL" clId="{50D65809-C001-418F-853F-807F7FC538E4}" dt="2024-08-29T09:55:35.810" v="5595"/>
          <ac:spMkLst>
            <pc:docMk/>
            <pc:sldMk cId="1391634669" sldId="5752"/>
            <ac:spMk id="62" creationId="{CF07755C-4707-64C1-C6DC-9587BF3AC259}"/>
          </ac:spMkLst>
        </pc:spChg>
        <pc:spChg chg="add del mod modVis">
          <ac:chgData name="Menold, Paul" userId="51be9bec-ade3-4e21-8ea3-a4fa8b9bed85" providerId="ADAL" clId="{50D65809-C001-418F-853F-807F7FC538E4}" dt="2024-08-29T09:55:37.438" v="5626"/>
          <ac:spMkLst>
            <pc:docMk/>
            <pc:sldMk cId="1391634669" sldId="5752"/>
            <ac:spMk id="63" creationId="{B6879824-AFEB-C009-5C84-0DC482778A5D}"/>
          </ac:spMkLst>
        </pc:spChg>
        <pc:spChg chg="add del mod modVis">
          <ac:chgData name="Menold, Paul" userId="51be9bec-ade3-4e21-8ea3-a4fa8b9bed85" providerId="ADAL" clId="{50D65809-C001-418F-853F-807F7FC538E4}" dt="2024-08-29T09:55:38.952" v="5655"/>
          <ac:spMkLst>
            <pc:docMk/>
            <pc:sldMk cId="1391634669" sldId="5752"/>
            <ac:spMk id="64" creationId="{FA68C523-3582-12D8-1A63-34EBE664FC50}"/>
          </ac:spMkLst>
        </pc:spChg>
        <pc:spChg chg="add del mod modVis">
          <ac:chgData name="Menold, Paul" userId="51be9bec-ade3-4e21-8ea3-a4fa8b9bed85" providerId="ADAL" clId="{50D65809-C001-418F-853F-807F7FC538E4}" dt="2024-08-29T09:56:00.914" v="5759"/>
          <ac:spMkLst>
            <pc:docMk/>
            <pc:sldMk cId="1391634669" sldId="5752"/>
            <ac:spMk id="65" creationId="{65235406-66B5-D805-49F1-62F4597AF842}"/>
          </ac:spMkLst>
        </pc:spChg>
        <pc:grpChg chg="mod">
          <ac:chgData name="Menold, Paul" userId="51be9bec-ade3-4e21-8ea3-a4fa8b9bed85" providerId="ADAL" clId="{50D65809-C001-418F-853F-807F7FC538E4}" dt="2024-08-29T09:51:21.931" v="5151" actId="1076"/>
          <ac:grpSpMkLst>
            <pc:docMk/>
            <pc:sldMk cId="1391634669" sldId="5752"/>
            <ac:grpSpMk id="4" creationId="{CCFDB97F-F24B-6472-3EB1-71C73A7D7AFF}"/>
          </ac:grpSpMkLst>
        </pc:grpChg>
        <pc:grpChg chg="add mod">
          <ac:chgData name="Menold, Paul" userId="51be9bec-ade3-4e21-8ea3-a4fa8b9bed85" providerId="ADAL" clId="{50D65809-C001-418F-853F-807F7FC538E4}" dt="2024-08-29T09:51:32.035" v="5152" actId="1076"/>
          <ac:grpSpMkLst>
            <pc:docMk/>
            <pc:sldMk cId="1391634669" sldId="5752"/>
            <ac:grpSpMk id="6" creationId="{E4CCEF20-7B7A-A611-5863-159309E50583}"/>
          </ac:grpSpMkLst>
        </pc:grpChg>
        <pc:grpChg chg="mod">
          <ac:chgData name="Menold, Paul" userId="51be9bec-ade3-4e21-8ea3-a4fa8b9bed85" providerId="ADAL" clId="{50D65809-C001-418F-853F-807F7FC538E4}" dt="2024-08-29T09:51:21.931" v="5151" actId="1076"/>
          <ac:grpSpMkLst>
            <pc:docMk/>
            <pc:sldMk cId="1391634669" sldId="5752"/>
            <ac:grpSpMk id="35" creationId="{27A54328-7F48-2D4B-9D88-6B030445DE7D}"/>
          </ac:grpSpMkLst>
        </pc:grpChg>
        <pc:grpChg chg="add mod">
          <ac:chgData name="Menold, Paul" userId="51be9bec-ade3-4e21-8ea3-a4fa8b9bed85" providerId="ADAL" clId="{50D65809-C001-418F-853F-807F7FC538E4}" dt="2024-08-29T09:52:39.952" v="5160"/>
          <ac:grpSpMkLst>
            <pc:docMk/>
            <pc:sldMk cId="1391634669" sldId="5752"/>
            <ac:grpSpMk id="46" creationId="{1FF3348E-41FE-FF23-EB37-A2F0435235D5}"/>
          </ac:grpSpMkLst>
        </pc:grpChg>
        <pc:grpChg chg="add mod">
          <ac:chgData name="Menold, Paul" userId="51be9bec-ade3-4e21-8ea3-a4fa8b9bed85" providerId="ADAL" clId="{50D65809-C001-418F-853F-807F7FC538E4}" dt="2024-08-29T09:52:55.452" v="5166" actId="688"/>
          <ac:grpSpMkLst>
            <pc:docMk/>
            <pc:sldMk cId="1391634669" sldId="5752"/>
            <ac:grpSpMk id="49" creationId="{9676F1EF-62B5-607B-1A2C-AA4FEBCB27D7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09:56:00.919" v="5761"/>
          <ac:graphicFrameMkLst>
            <pc:docMk/>
            <pc:sldMk cId="1391634669" sldId="5752"/>
            <ac:graphicFrameMk id="58" creationId="{65226D5B-8D15-4315-BAE2-A17DF15EE70F}"/>
          </ac:graphicFrameMkLst>
        </pc:graphicFrameChg>
        <pc:cxnChg chg="mod">
          <ac:chgData name="Menold, Paul" userId="51be9bec-ade3-4e21-8ea3-a4fa8b9bed85" providerId="ADAL" clId="{50D65809-C001-418F-853F-807F7FC538E4}" dt="2024-08-29T09:51:21.931" v="5151" actId="1076"/>
          <ac:cxnSpMkLst>
            <pc:docMk/>
            <pc:sldMk cId="1391634669" sldId="5752"/>
            <ac:cxnSpMk id="31" creationId="{2D0263CD-D7E9-97F6-ECE3-A2315F12C3B4}"/>
          </ac:cxnSpMkLst>
        </pc:cxnChg>
        <pc:cxnChg chg="mod">
          <ac:chgData name="Menold, Paul" userId="51be9bec-ade3-4e21-8ea3-a4fa8b9bed85" providerId="ADAL" clId="{50D65809-C001-418F-853F-807F7FC538E4}" dt="2024-08-29T09:51:21.931" v="5151" actId="1076"/>
          <ac:cxnSpMkLst>
            <pc:docMk/>
            <pc:sldMk cId="1391634669" sldId="5752"/>
            <ac:cxnSpMk id="34" creationId="{C36336BE-B209-4890-40A4-5278FB0A3A01}"/>
          </ac:cxnSpMkLst>
        </pc:cxnChg>
      </pc:sldChg>
      <pc:sldChg chg="del">
        <pc:chgData name="Menold, Paul" userId="51be9bec-ade3-4e21-8ea3-a4fa8b9bed85" providerId="ADAL" clId="{50D65809-C001-418F-853F-807F7FC538E4}" dt="2024-08-29T09:48:17.016" v="4981" actId="47"/>
        <pc:sldMkLst>
          <pc:docMk/>
          <pc:sldMk cId="3824128494" sldId="5755"/>
        </pc:sldMkLst>
      </pc:sldChg>
      <pc:sldChg chg="addSp delSp modSp mod modClrScheme chgLayout">
        <pc:chgData name="Menold, Paul" userId="51be9bec-ade3-4e21-8ea3-a4fa8b9bed85" providerId="ADAL" clId="{50D65809-C001-418F-853F-807F7FC538E4}" dt="2024-08-29T09:58:04.407" v="6280"/>
        <pc:sldMkLst>
          <pc:docMk/>
          <pc:sldMk cId="994914706" sldId="5756"/>
        </pc:sldMkLst>
        <pc:spChg chg="mod ord">
          <ac:chgData name="Menold, Paul" userId="51be9bec-ade3-4e21-8ea3-a4fa8b9bed85" providerId="ADAL" clId="{50D65809-C001-418F-853F-807F7FC538E4}" dt="2024-08-29T09:58:04.324" v="6257" actId="948"/>
          <ac:spMkLst>
            <pc:docMk/>
            <pc:sldMk cId="994914706" sldId="5756"/>
            <ac:spMk id="2" creationId="{04461D98-DA3E-0BE0-D830-ED693A4E0760}"/>
          </ac:spMkLst>
        </pc:spChg>
        <pc:spChg chg="mod ord">
          <ac:chgData name="Menold, Paul" userId="51be9bec-ade3-4e21-8ea3-a4fa8b9bed85" providerId="ADAL" clId="{50D65809-C001-418F-853F-807F7FC538E4}" dt="2024-08-29T09:58:03.742" v="6256" actId="700"/>
          <ac:spMkLst>
            <pc:docMk/>
            <pc:sldMk cId="994914706" sldId="5756"/>
            <ac:spMk id="3" creationId="{568DCD10-0995-550F-2623-964C01C8882A}"/>
          </ac:spMkLst>
        </pc:spChg>
        <pc:spChg chg="add del mod modVis">
          <ac:chgData name="Menold, Paul" userId="51be9bec-ade3-4e21-8ea3-a4fa8b9bed85" providerId="ADAL" clId="{50D65809-C001-418F-853F-807F7FC538E4}" dt="2024-08-29T09:56:38.475" v="5857"/>
          <ac:spMkLst>
            <pc:docMk/>
            <pc:sldMk cId="994914706" sldId="5756"/>
            <ac:spMk id="4" creationId="{B239E141-7608-EB0A-0E2F-A0B4749B1B66}"/>
          </ac:spMkLst>
        </pc:spChg>
        <pc:spChg chg="add del mod modVis">
          <ac:chgData name="Menold, Paul" userId="51be9bec-ade3-4e21-8ea3-a4fa8b9bed85" providerId="ADAL" clId="{50D65809-C001-418F-853F-807F7FC538E4}" dt="2024-08-29T09:56:39.413" v="5884"/>
          <ac:spMkLst>
            <pc:docMk/>
            <pc:sldMk cId="994914706" sldId="5756"/>
            <ac:spMk id="97" creationId="{A35A59DD-AC55-719C-6571-940DB5416CED}"/>
          </ac:spMkLst>
        </pc:spChg>
        <pc:spChg chg="add del mod modVis">
          <ac:chgData name="Menold, Paul" userId="51be9bec-ade3-4e21-8ea3-a4fa8b9bed85" providerId="ADAL" clId="{50D65809-C001-418F-853F-807F7FC538E4}" dt="2024-08-29T09:56:40.066" v="5909"/>
          <ac:spMkLst>
            <pc:docMk/>
            <pc:sldMk cId="994914706" sldId="5756"/>
            <ac:spMk id="98" creationId="{F7EE8C7B-CBAA-79F4-9755-91525E96D1F2}"/>
          </ac:spMkLst>
        </pc:spChg>
        <pc:spChg chg="add del mod modVis">
          <ac:chgData name="Menold, Paul" userId="51be9bec-ade3-4e21-8ea3-a4fa8b9bed85" providerId="ADAL" clId="{50D65809-C001-418F-853F-807F7FC538E4}" dt="2024-08-29T09:56:40.914" v="5936"/>
          <ac:spMkLst>
            <pc:docMk/>
            <pc:sldMk cId="994914706" sldId="5756"/>
            <ac:spMk id="99" creationId="{5A83F6C2-3A8E-F7B0-06A5-C657935C1FD2}"/>
          </ac:spMkLst>
        </pc:spChg>
        <pc:spChg chg="add del mod modVis">
          <ac:chgData name="Menold, Paul" userId="51be9bec-ade3-4e21-8ea3-a4fa8b9bed85" providerId="ADAL" clId="{50D65809-C001-418F-853F-807F7FC538E4}" dt="2024-08-29T09:56:50.606" v="5961"/>
          <ac:spMkLst>
            <pc:docMk/>
            <pc:sldMk cId="994914706" sldId="5756"/>
            <ac:spMk id="100" creationId="{3616CD75-9F81-BC01-BA5E-633FB92770F3}"/>
          </ac:spMkLst>
        </pc:spChg>
        <pc:spChg chg="add del mod modVis">
          <ac:chgData name="Menold, Paul" userId="51be9bec-ade3-4e21-8ea3-a4fa8b9bed85" providerId="ADAL" clId="{50D65809-C001-418F-853F-807F7FC538E4}" dt="2024-08-29T09:56:57.098" v="5995"/>
          <ac:spMkLst>
            <pc:docMk/>
            <pc:sldMk cId="994914706" sldId="5756"/>
            <ac:spMk id="101" creationId="{E40E49F8-E754-E48C-B7F0-1206C790E145}"/>
          </ac:spMkLst>
        </pc:spChg>
        <pc:spChg chg="add del mod modVis">
          <ac:chgData name="Menold, Paul" userId="51be9bec-ade3-4e21-8ea3-a4fa8b9bed85" providerId="ADAL" clId="{50D65809-C001-418F-853F-807F7FC538E4}" dt="2024-08-29T09:56:59.936" v="6031"/>
          <ac:spMkLst>
            <pc:docMk/>
            <pc:sldMk cId="994914706" sldId="5756"/>
            <ac:spMk id="102" creationId="{FEB2BF32-29D6-72F7-CF47-F32D4AE42375}"/>
          </ac:spMkLst>
        </pc:spChg>
        <pc:spChg chg="add del mod modVis">
          <ac:chgData name="Menold, Paul" userId="51be9bec-ade3-4e21-8ea3-a4fa8b9bed85" providerId="ADAL" clId="{50D65809-C001-418F-853F-807F7FC538E4}" dt="2024-08-29T09:57:01.203" v="6058"/>
          <ac:spMkLst>
            <pc:docMk/>
            <pc:sldMk cId="994914706" sldId="5756"/>
            <ac:spMk id="103" creationId="{24741E63-6E49-2AF2-4503-06CFF906BF83}"/>
          </ac:spMkLst>
        </pc:spChg>
        <pc:spChg chg="add del mod modVis">
          <ac:chgData name="Menold, Paul" userId="51be9bec-ade3-4e21-8ea3-a4fa8b9bed85" providerId="ADAL" clId="{50D65809-C001-418F-853F-807F7FC538E4}" dt="2024-08-29T09:57:02.576" v="6086"/>
          <ac:spMkLst>
            <pc:docMk/>
            <pc:sldMk cId="994914706" sldId="5756"/>
            <ac:spMk id="104" creationId="{92E535C9-3E5F-D03E-21F6-990FFA440F60}"/>
          </ac:spMkLst>
        </pc:spChg>
        <pc:spChg chg="add del mod modVis">
          <ac:chgData name="Menold, Paul" userId="51be9bec-ade3-4e21-8ea3-a4fa8b9bed85" providerId="ADAL" clId="{50D65809-C001-418F-853F-807F7FC538E4}" dt="2024-08-29T09:57:33.887" v="6168"/>
          <ac:spMkLst>
            <pc:docMk/>
            <pc:sldMk cId="994914706" sldId="5756"/>
            <ac:spMk id="105" creationId="{E6C03409-C993-85F8-3D4E-DCC15229F3EA}"/>
          </ac:spMkLst>
        </pc:spChg>
        <pc:spChg chg="add del mod modVis">
          <ac:chgData name="Menold, Paul" userId="51be9bec-ade3-4e21-8ea3-a4fa8b9bed85" providerId="ADAL" clId="{50D65809-C001-418F-853F-807F7FC538E4}" dt="2024-08-29T09:57:39.133" v="6193"/>
          <ac:spMkLst>
            <pc:docMk/>
            <pc:sldMk cId="994914706" sldId="5756"/>
            <ac:spMk id="106" creationId="{C553F953-487A-C09F-9C18-259FE0A986C3}"/>
          </ac:spMkLst>
        </pc:spChg>
        <pc:spChg chg="add del mod modVis">
          <ac:chgData name="Menold, Paul" userId="51be9bec-ade3-4e21-8ea3-a4fa8b9bed85" providerId="ADAL" clId="{50D65809-C001-418F-853F-807F7FC538E4}" dt="2024-08-29T09:57:43.468" v="6218"/>
          <ac:spMkLst>
            <pc:docMk/>
            <pc:sldMk cId="994914706" sldId="5756"/>
            <ac:spMk id="107" creationId="{26CA9506-E576-49CA-6CF1-0E9A7567CFCD}"/>
          </ac:spMkLst>
        </pc:spChg>
        <pc:spChg chg="add del mod modVis">
          <ac:chgData name="Menold, Paul" userId="51be9bec-ade3-4e21-8ea3-a4fa8b9bed85" providerId="ADAL" clId="{50D65809-C001-418F-853F-807F7FC538E4}" dt="2024-08-29T09:58:04.400" v="6278"/>
          <ac:spMkLst>
            <pc:docMk/>
            <pc:sldMk cId="994914706" sldId="5756"/>
            <ac:spMk id="108" creationId="{A1438021-AB2E-E861-03C8-FA21C346C6D1}"/>
          </ac:spMkLst>
        </pc:spChg>
        <pc:graphicFrameChg chg="mod">
          <ac:chgData name="Menold, Paul" userId="51be9bec-ade3-4e21-8ea3-a4fa8b9bed85" providerId="ADAL" clId="{50D65809-C001-418F-853F-807F7FC538E4}" dt="2024-08-29T09:58:04.407" v="6280"/>
          <ac:graphicFrameMkLst>
            <pc:docMk/>
            <pc:sldMk cId="994914706" sldId="5756"/>
            <ac:graphicFrameMk id="5" creationId="{E52BEB3D-AD4D-74EF-1E5F-5A12D824D093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9T09:56:21.071" v="5822" actId="20577"/>
        <pc:sldMkLst>
          <pc:docMk/>
          <pc:sldMk cId="887955904" sldId="5758"/>
        </pc:sldMkLst>
        <pc:spChg chg="mod">
          <ac:chgData name="Menold, Paul" userId="51be9bec-ade3-4e21-8ea3-a4fa8b9bed85" providerId="ADAL" clId="{50D65809-C001-418F-853F-807F7FC538E4}" dt="2024-08-29T09:56:14.171" v="5794" actId="948"/>
          <ac:spMkLst>
            <pc:docMk/>
            <pc:sldMk cId="887955904" sldId="5758"/>
            <ac:spMk id="2" creationId="{0BFDC5DB-C584-C31B-8DF4-B3CFFC64CAC3}"/>
          </ac:spMkLst>
        </pc:spChg>
        <pc:spChg chg="mod">
          <ac:chgData name="Menold, Paul" userId="51be9bec-ade3-4e21-8ea3-a4fa8b9bed85" providerId="ADAL" clId="{50D65809-C001-418F-853F-807F7FC538E4}" dt="2024-08-29T09:56:21.071" v="5822" actId="20577"/>
          <ac:spMkLst>
            <pc:docMk/>
            <pc:sldMk cId="887955904" sldId="5758"/>
            <ac:spMk id="3" creationId="{60E0DA15-14B4-925A-E035-D1C834363320}"/>
          </ac:spMkLst>
        </pc:spChg>
        <pc:spChg chg="add del mod modVis">
          <ac:chgData name="Menold, Paul" userId="51be9bec-ade3-4e21-8ea3-a4fa8b9bed85" providerId="ADAL" clId="{50D65809-C001-418F-853F-807F7FC538E4}" dt="2024-08-29T09:56:11.256" v="5787"/>
          <ac:spMkLst>
            <pc:docMk/>
            <pc:sldMk cId="887955904" sldId="5758"/>
            <ac:spMk id="4" creationId="{32487204-6B2D-C5F2-6BAB-B08A69E59A8E}"/>
          </ac:spMkLst>
        </pc:spChg>
        <pc:spChg chg="add del mod modVis">
          <ac:chgData name="Menold, Paul" userId="51be9bec-ade3-4e21-8ea3-a4fa8b9bed85" providerId="ADAL" clId="{50D65809-C001-418F-853F-807F7FC538E4}" dt="2024-08-29T09:56:14.239" v="5815"/>
          <ac:spMkLst>
            <pc:docMk/>
            <pc:sldMk cId="887955904" sldId="5758"/>
            <ac:spMk id="161" creationId="{CD3D044C-D2CC-2432-DA48-28CE6AA72534}"/>
          </ac:spMkLst>
        </pc:spChg>
        <pc:graphicFrameChg chg="mod">
          <ac:chgData name="Menold, Paul" userId="51be9bec-ade3-4e21-8ea3-a4fa8b9bed85" providerId="ADAL" clId="{50D65809-C001-418F-853F-807F7FC538E4}" dt="2024-08-29T09:56:14.244" v="5817"/>
          <ac:graphicFrameMkLst>
            <pc:docMk/>
            <pc:sldMk cId="887955904" sldId="5758"/>
            <ac:graphicFrameMk id="162" creationId="{56DAE924-6907-A1F8-75D9-19231BD54A10}"/>
          </ac:graphicFrameMkLst>
        </pc:graphicFrameChg>
      </pc:sldChg>
      <pc:sldChg chg="del">
        <pc:chgData name="Menold, Paul" userId="51be9bec-ade3-4e21-8ea3-a4fa8b9bed85" providerId="ADAL" clId="{50D65809-C001-418F-853F-807F7FC538E4}" dt="2024-08-29T09:48:17.016" v="4981" actId="47"/>
        <pc:sldMkLst>
          <pc:docMk/>
          <pc:sldMk cId="2421045296" sldId="5760"/>
        </pc:sldMkLst>
      </pc:sldChg>
      <pc:sldChg chg="addSp delSp modSp mod ord">
        <pc:chgData name="Menold, Paul" userId="51be9bec-ade3-4e21-8ea3-a4fa8b9bed85" providerId="ADAL" clId="{50D65809-C001-418F-853F-807F7FC538E4}" dt="2024-08-28T13:42:20.053" v="62" actId="478"/>
        <pc:sldMkLst>
          <pc:docMk/>
          <pc:sldMk cId="1326169800" sldId="5770"/>
        </pc:sldMkLst>
        <pc:spChg chg="mod">
          <ac:chgData name="Menold, Paul" userId="51be9bec-ade3-4e21-8ea3-a4fa8b9bed85" providerId="ADAL" clId="{50D65809-C001-418F-853F-807F7FC538E4}" dt="2024-08-28T13:42:18.235" v="34" actId="948"/>
          <ac:spMkLst>
            <pc:docMk/>
            <pc:sldMk cId="1326169800" sldId="5770"/>
            <ac:spMk id="2" creationId="{088040EB-8E6D-5A3F-BBA5-444D723CF538}"/>
          </ac:spMkLst>
        </pc:spChg>
        <pc:spChg chg="add del mod modVis">
          <ac:chgData name="Menold, Paul" userId="51be9bec-ade3-4e21-8ea3-a4fa8b9bed85" providerId="ADAL" clId="{50D65809-C001-418F-853F-807F7FC538E4}" dt="2024-08-28T13:42:18.303" v="59"/>
          <ac:spMkLst>
            <pc:docMk/>
            <pc:sldMk cId="1326169800" sldId="5770"/>
            <ac:spMk id="6" creationId="{6B54B74A-6FE3-82AC-5828-0A432D753C39}"/>
          </ac:spMkLst>
        </pc:spChg>
        <pc:spChg chg="del">
          <ac:chgData name="Menold, Paul" userId="51be9bec-ade3-4e21-8ea3-a4fa8b9bed85" providerId="ADAL" clId="{50D65809-C001-418F-853F-807F7FC538E4}" dt="2024-08-28T13:42:20.053" v="62" actId="478"/>
          <ac:spMkLst>
            <pc:docMk/>
            <pc:sldMk cId="1326169800" sldId="5770"/>
            <ac:spMk id="42" creationId="{6F45E4DE-16D5-B5A9-2B3E-3A9317B6615A}"/>
          </ac:spMkLst>
        </pc:spChg>
        <pc:graphicFrameChg chg="mod">
          <ac:chgData name="Menold, Paul" userId="51be9bec-ade3-4e21-8ea3-a4fa8b9bed85" providerId="ADAL" clId="{50D65809-C001-418F-853F-807F7FC538E4}" dt="2024-08-28T13:42:18.306" v="61"/>
          <ac:graphicFrameMkLst>
            <pc:docMk/>
            <pc:sldMk cId="1326169800" sldId="5770"/>
            <ac:graphicFrameMk id="5" creationId="{1530FC19-B837-AF54-14E9-7B40F3CDE8E6}"/>
          </ac:graphicFrameMkLst>
        </pc:graphicFrameChg>
      </pc:sldChg>
      <pc:sldChg chg="addSp delSp modSp new mod">
        <pc:chgData name="Menold, Paul" userId="51be9bec-ade3-4e21-8ea3-a4fa8b9bed85" providerId="ADAL" clId="{50D65809-C001-418F-853F-807F7FC538E4}" dt="2024-08-28T13:55:16.830" v="1302" actId="1076"/>
        <pc:sldMkLst>
          <pc:docMk/>
          <pc:sldMk cId="4162031129" sldId="5772"/>
        </pc:sldMkLst>
        <pc:spChg chg="mod">
          <ac:chgData name="Menold, Paul" userId="51be9bec-ade3-4e21-8ea3-a4fa8b9bed85" providerId="ADAL" clId="{50D65809-C001-418F-853F-807F7FC538E4}" dt="2024-08-28T13:47:28.346" v="752" actId="948"/>
          <ac:spMkLst>
            <pc:docMk/>
            <pc:sldMk cId="4162031129" sldId="5772"/>
            <ac:spMk id="2" creationId="{DA561905-54D2-4C28-B419-1FDF5CF7E1AE}"/>
          </ac:spMkLst>
        </pc:spChg>
        <pc:spChg chg="mod">
          <ac:chgData name="Menold, Paul" userId="51be9bec-ade3-4e21-8ea3-a4fa8b9bed85" providerId="ADAL" clId="{50D65809-C001-418F-853F-807F7FC538E4}" dt="2024-08-28T13:47:45.258" v="850" actId="20577"/>
          <ac:spMkLst>
            <pc:docMk/>
            <pc:sldMk cId="4162031129" sldId="5772"/>
            <ac:spMk id="3" creationId="{D775F36F-768C-322F-29A0-F7B45EDB430F}"/>
          </ac:spMkLst>
        </pc:spChg>
        <pc:spChg chg="add del mod modVis">
          <ac:chgData name="Menold, Paul" userId="51be9bec-ade3-4e21-8ea3-a4fa8b9bed85" providerId="ADAL" clId="{50D65809-C001-418F-853F-807F7FC538E4}" dt="2024-08-28T13:45:17.416" v="366"/>
          <ac:spMkLst>
            <pc:docMk/>
            <pc:sldMk cId="4162031129" sldId="5772"/>
            <ac:spMk id="4" creationId="{56A4FA85-0436-99F8-E162-DDEBEC6CA4DE}"/>
          </ac:spMkLst>
        </pc:spChg>
        <pc:spChg chg="add del mod modVis">
          <ac:chgData name="Menold, Paul" userId="51be9bec-ade3-4e21-8ea3-a4fa8b9bed85" providerId="ADAL" clId="{50D65809-C001-418F-853F-807F7FC538E4}" dt="2024-08-28T13:45:19.168" v="413"/>
          <ac:spMkLst>
            <pc:docMk/>
            <pc:sldMk cId="4162031129" sldId="5772"/>
            <ac:spMk id="6" creationId="{EAAEC04F-3313-0045-EB38-1ED37B988BAA}"/>
          </ac:spMkLst>
        </pc:spChg>
        <pc:spChg chg="add del mod modVis">
          <ac:chgData name="Menold, Paul" userId="51be9bec-ade3-4e21-8ea3-a4fa8b9bed85" providerId="ADAL" clId="{50D65809-C001-418F-853F-807F7FC538E4}" dt="2024-08-28T13:45:21.806" v="453"/>
          <ac:spMkLst>
            <pc:docMk/>
            <pc:sldMk cId="4162031129" sldId="5772"/>
            <ac:spMk id="7" creationId="{B4578047-57ED-9A3B-22F1-FF66705EDFFF}"/>
          </ac:spMkLst>
        </pc:spChg>
        <pc:spChg chg="add del mod">
          <ac:chgData name="Menold, Paul" userId="51be9bec-ade3-4e21-8ea3-a4fa8b9bed85" providerId="ADAL" clId="{50D65809-C001-418F-853F-807F7FC538E4}" dt="2024-08-28T13:47:51.215" v="852" actId="478"/>
          <ac:spMkLst>
            <pc:docMk/>
            <pc:sldMk cId="4162031129" sldId="5772"/>
            <ac:spMk id="8" creationId="{FA9146F1-2ADE-0E1C-99AB-A3BAEC12A48E}"/>
          </ac:spMkLst>
        </pc:spChg>
        <pc:spChg chg="add del mod modVis">
          <ac:chgData name="Menold, Paul" userId="51be9bec-ade3-4e21-8ea3-a4fa8b9bed85" providerId="ADAL" clId="{50D65809-C001-418F-853F-807F7FC538E4}" dt="2024-08-28T13:45:30.952" v="546"/>
          <ac:spMkLst>
            <pc:docMk/>
            <pc:sldMk cId="4162031129" sldId="5772"/>
            <ac:spMk id="9" creationId="{58B131F5-EF8D-067A-8D13-4F79B1960F3C}"/>
          </ac:spMkLst>
        </pc:spChg>
        <pc:spChg chg="add del mod modVis">
          <ac:chgData name="Menold, Paul" userId="51be9bec-ade3-4e21-8ea3-a4fa8b9bed85" providerId="ADAL" clId="{50D65809-C001-418F-853F-807F7FC538E4}" dt="2024-08-28T13:45:33.549" v="582"/>
          <ac:spMkLst>
            <pc:docMk/>
            <pc:sldMk cId="4162031129" sldId="5772"/>
            <ac:spMk id="10" creationId="{D181D58F-CE84-9AA4-5857-F7D600253A93}"/>
          </ac:spMkLst>
        </pc:spChg>
        <pc:spChg chg="add del mod modVis">
          <ac:chgData name="Menold, Paul" userId="51be9bec-ade3-4e21-8ea3-a4fa8b9bed85" providerId="ADAL" clId="{50D65809-C001-418F-853F-807F7FC538E4}" dt="2024-08-28T13:47:20.765" v="719"/>
          <ac:spMkLst>
            <pc:docMk/>
            <pc:sldMk cId="4162031129" sldId="5772"/>
            <ac:spMk id="13" creationId="{247A2319-4D04-6E3F-5A51-7B723666E09F}"/>
          </ac:spMkLst>
        </pc:spChg>
        <pc:spChg chg="add del mod modVis">
          <ac:chgData name="Menold, Paul" userId="51be9bec-ade3-4e21-8ea3-a4fa8b9bed85" providerId="ADAL" clId="{50D65809-C001-418F-853F-807F7FC538E4}" dt="2024-08-28T13:47:26.634" v="745"/>
          <ac:spMkLst>
            <pc:docMk/>
            <pc:sldMk cId="4162031129" sldId="5772"/>
            <ac:spMk id="14" creationId="{83A2CFA3-EFD3-EB6D-CBB6-693F389FA21A}"/>
          </ac:spMkLst>
        </pc:spChg>
        <pc:spChg chg="add del mod modVis">
          <ac:chgData name="Menold, Paul" userId="51be9bec-ade3-4e21-8ea3-a4fa8b9bed85" providerId="ADAL" clId="{50D65809-C001-418F-853F-807F7FC538E4}" dt="2024-08-28T13:47:28.386" v="773"/>
          <ac:spMkLst>
            <pc:docMk/>
            <pc:sldMk cId="4162031129" sldId="5772"/>
            <ac:spMk id="15" creationId="{304C7E38-8F42-C7FF-350B-2FC9545E44A9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6" creationId="{477604D6-2F39-69F1-B0D0-E647A660E470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7" creationId="{259D1173-6FCC-B995-F3A6-9124B4D26115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8" creationId="{3CB09D90-4D81-8439-4C75-30AA3BC8351C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9" creationId="{ED855FB3-7F75-5939-A797-4BE98A1FB790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4" creationId="{CAB6A634-2C86-3BE1-D8D0-531878BF9421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5" creationId="{95F2F70C-1A4E-1FC4-1871-D10793DE3DEE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6" creationId="{55F68373-B4EB-67F1-B4F4-9B007218B906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7" creationId="{E7CB438F-85AB-F27A-0248-F1A5353A557C}"/>
          </ac:spMkLst>
        </pc:spChg>
        <pc:spChg chg="add del mod">
          <ac:chgData name="Menold, Paul" userId="51be9bec-ade3-4e21-8ea3-a4fa8b9bed85" providerId="ADAL" clId="{50D65809-C001-418F-853F-807F7FC538E4}" dt="2024-08-28T13:50:12.324" v="949" actId="767"/>
          <ac:spMkLst>
            <pc:docMk/>
            <pc:sldMk cId="4162031129" sldId="5772"/>
            <ac:spMk id="29" creationId="{652DCBF9-01D3-E607-60E7-E82DDA8B9C32}"/>
          </ac:spMkLst>
        </pc:spChg>
        <pc:spChg chg="add mod">
          <ac:chgData name="Menold, Paul" userId="51be9bec-ade3-4e21-8ea3-a4fa8b9bed85" providerId="ADAL" clId="{50D65809-C001-418F-853F-807F7FC538E4}" dt="2024-08-28T13:55:16.830" v="1302" actId="1076"/>
          <ac:spMkLst>
            <pc:docMk/>
            <pc:sldMk cId="4162031129" sldId="5772"/>
            <ac:spMk id="34" creationId="{2F1EB8D0-CD92-C162-1C95-8FE4D90B50D0}"/>
          </ac:spMkLst>
        </pc:spChg>
        <pc:grpChg chg="add mod">
          <ac:chgData name="Menold, Paul" userId="51be9bec-ade3-4e21-8ea3-a4fa8b9bed85" providerId="ADAL" clId="{50D65809-C001-418F-853F-807F7FC538E4}" dt="2024-08-28T13:49:24.690" v="925" actId="164"/>
          <ac:grpSpMkLst>
            <pc:docMk/>
            <pc:sldMk cId="4162031129" sldId="5772"/>
            <ac:grpSpMk id="28" creationId="{69542C1B-4095-D541-D816-6FB34E5E772F}"/>
          </ac:grpSpMkLst>
        </pc:grpChg>
        <pc:graphicFrameChg chg="add mod ord modVis replST">
          <ac:chgData name="Menold, Paul" userId="51be9bec-ade3-4e21-8ea3-a4fa8b9bed85" providerId="ADAL" clId="{50D65809-C001-418F-853F-807F7FC538E4}" dt="2024-08-28T13:47:28.390" v="775"/>
          <ac:graphicFrameMkLst>
            <pc:docMk/>
            <pc:sldMk cId="4162031129" sldId="5772"/>
            <ac:graphicFrameMk id="5" creationId="{487854D6-A9BB-8BF0-5C48-44B0FE4A0131}"/>
          </ac:graphicFrameMkLst>
        </pc:graphicFrameChg>
        <pc:picChg chg="add del mod">
          <ac:chgData name="Menold, Paul" userId="51be9bec-ade3-4e21-8ea3-a4fa8b9bed85" providerId="ADAL" clId="{50D65809-C001-418F-853F-807F7FC538E4}" dt="2024-08-28T13:54:28.422" v="1293" actId="478"/>
          <ac:picMkLst>
            <pc:docMk/>
            <pc:sldMk cId="4162031129" sldId="5772"/>
            <ac:picMk id="12" creationId="{3028A597-1914-48A5-B82F-74F4A781D6F4}"/>
          </ac:picMkLst>
        </pc:pic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0" creationId="{5FACE762-0B17-23DE-E337-DDB38BD2DBF6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1" creationId="{8F88B9CC-CDAD-D25E-7AB1-054675A5EFCE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2" creationId="{BBF998AB-A06B-B4E0-8379-5F302B234FED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3" creationId="{64C85428-7D85-F489-E3E3-3A63624119AC}"/>
          </ac:cxnSpMkLst>
        </pc:cxnChg>
      </pc:sldChg>
      <pc:sldChg chg="addSp delSp modSp new mod modClrScheme chgLayout">
        <pc:chgData name="Menold, Paul" userId="51be9bec-ade3-4e21-8ea3-a4fa8b9bed85" providerId="ADAL" clId="{50D65809-C001-418F-853F-807F7FC538E4}" dt="2024-09-02T10:34:57.413" v="6660" actId="207"/>
        <pc:sldMkLst>
          <pc:docMk/>
          <pc:sldMk cId="1519746111" sldId="5773"/>
        </pc:sldMkLst>
        <pc:spChg chg="mod ord">
          <ac:chgData name="Menold, Paul" userId="51be9bec-ade3-4e21-8ea3-a4fa8b9bed85" providerId="ADAL" clId="{50D65809-C001-418F-853F-807F7FC538E4}" dt="2024-08-28T14:00:19.020" v="1827"/>
          <ac:spMkLst>
            <pc:docMk/>
            <pc:sldMk cId="1519746111" sldId="5773"/>
            <ac:spMk id="2" creationId="{F6792258-E62B-2625-B679-11B3FE0F8BC0}"/>
          </ac:spMkLst>
        </pc:spChg>
        <pc:spChg chg="del mod ord">
          <ac:chgData name="Menold, Paul" userId="51be9bec-ade3-4e21-8ea3-a4fa8b9bed85" providerId="ADAL" clId="{50D65809-C001-418F-853F-807F7FC538E4}" dt="2024-08-28T13:56:19.878" v="1464" actId="700"/>
          <ac:spMkLst>
            <pc:docMk/>
            <pc:sldMk cId="1519746111" sldId="5773"/>
            <ac:spMk id="3" creationId="{DEC042AE-BFB3-5928-6761-CFFC9C856D66}"/>
          </ac:spMkLst>
        </pc:spChg>
        <pc:spChg chg="add del mod modVis">
          <ac:chgData name="Menold, Paul" userId="51be9bec-ade3-4e21-8ea3-a4fa8b9bed85" providerId="ADAL" clId="{50D65809-C001-418F-853F-807F7FC538E4}" dt="2024-08-28T13:56:12.942" v="1373"/>
          <ac:spMkLst>
            <pc:docMk/>
            <pc:sldMk cId="1519746111" sldId="5773"/>
            <ac:spMk id="5" creationId="{CFDAB597-5A13-B2DE-2F17-E1F6D9CDA2BB}"/>
          </ac:spMkLst>
        </pc:spChg>
        <pc:spChg chg="add del mod modVis">
          <ac:chgData name="Menold, Paul" userId="51be9bec-ade3-4e21-8ea3-a4fa8b9bed85" providerId="ADAL" clId="{50D65809-C001-418F-853F-807F7FC538E4}" dt="2024-08-28T13:56:17.072" v="1461"/>
          <ac:spMkLst>
            <pc:docMk/>
            <pc:sldMk cId="1519746111" sldId="5773"/>
            <ac:spMk id="6" creationId="{A06F0CEF-F34A-39C8-A119-AAFF5076E781}"/>
          </ac:spMkLst>
        </pc:spChg>
        <pc:spChg chg="add mod ord">
          <ac:chgData name="Menold, Paul" userId="51be9bec-ade3-4e21-8ea3-a4fa8b9bed85" providerId="ADAL" clId="{50D65809-C001-418F-853F-807F7FC538E4}" dt="2024-08-28T14:00:19.021" v="1829"/>
          <ac:spMkLst>
            <pc:docMk/>
            <pc:sldMk cId="1519746111" sldId="5773"/>
            <ac:spMk id="7" creationId="{DB90BE29-A268-FE55-5C19-A89F3A108733}"/>
          </ac:spMkLst>
        </pc:spChg>
        <pc:spChg chg="add del mod modVis">
          <ac:chgData name="Menold, Paul" userId="51be9bec-ade3-4e21-8ea3-a4fa8b9bed85" providerId="ADAL" clId="{50D65809-C001-418F-853F-807F7FC538E4}" dt="2024-08-28T13:56:20.464" v="1486"/>
          <ac:spMkLst>
            <pc:docMk/>
            <pc:sldMk cId="1519746111" sldId="5773"/>
            <ac:spMk id="8" creationId="{64A9DD9C-8828-A120-6ED2-C22EEE62ABB5}"/>
          </ac:spMkLst>
        </pc:spChg>
        <pc:spChg chg="add del mod modVis">
          <ac:chgData name="Menold, Paul" userId="51be9bec-ade3-4e21-8ea3-a4fa8b9bed85" providerId="ADAL" clId="{50D65809-C001-418F-853F-807F7FC538E4}" dt="2024-08-28T13:57:13.294" v="1673"/>
          <ac:spMkLst>
            <pc:docMk/>
            <pc:sldMk cId="1519746111" sldId="5773"/>
            <ac:spMk id="9" creationId="{16107941-9D4C-0C1E-C5CB-58672BE3A5D9}"/>
          </ac:spMkLst>
        </pc:spChg>
        <pc:spChg chg="add del mod modVis">
          <ac:chgData name="Menold, Paul" userId="51be9bec-ade3-4e21-8ea3-a4fa8b9bed85" providerId="ADAL" clId="{50D65809-C001-418F-853F-807F7FC538E4}" dt="2024-08-28T13:57:15.608" v="1698"/>
          <ac:spMkLst>
            <pc:docMk/>
            <pc:sldMk cId="1519746111" sldId="5773"/>
            <ac:spMk id="10" creationId="{2A3E70F3-ECB7-BA9D-3A7C-7F2E6FC7D6DE}"/>
          </ac:spMkLst>
        </pc:spChg>
        <pc:spChg chg="add del mod">
          <ac:chgData name="Menold, Paul" userId="51be9bec-ade3-4e21-8ea3-a4fa8b9bed85" providerId="ADAL" clId="{50D65809-C001-418F-853F-807F7FC538E4}" dt="2024-08-28T13:57:29.417" v="1703" actId="478"/>
          <ac:spMkLst>
            <pc:docMk/>
            <pc:sldMk cId="1519746111" sldId="5773"/>
            <ac:spMk id="11" creationId="{8E0CE861-3878-596B-CECA-5280B733D7F4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2" creationId="{97F91FBA-D66A-702A-D727-75A70B8E2939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3" creationId="{7A31F882-0B5D-4648-DBBC-B16F645BF1EB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4" creationId="{A227A7CB-B280-8BA3-A081-D9DD5880706E}"/>
          </ac:spMkLst>
        </pc:spChg>
        <pc:spChg chg="add mod ord">
          <ac:chgData name="Menold, Paul" userId="51be9bec-ade3-4e21-8ea3-a4fa8b9bed85" providerId="ADAL" clId="{50D65809-C001-418F-853F-807F7FC538E4}" dt="2024-08-28T14:00:19.023" v="1831"/>
          <ac:spMkLst>
            <pc:docMk/>
            <pc:sldMk cId="1519746111" sldId="5773"/>
            <ac:spMk id="15" creationId="{B1AFAF07-059C-5C9E-041D-D0DD839E02FC}"/>
          </ac:spMkLst>
        </pc:spChg>
        <pc:spChg chg="add mod ord">
          <ac:chgData name="Menold, Paul" userId="51be9bec-ade3-4e21-8ea3-a4fa8b9bed85" providerId="ADAL" clId="{50D65809-C001-418F-853F-807F7FC538E4}" dt="2024-08-28T14:00:19.025" v="1833"/>
          <ac:spMkLst>
            <pc:docMk/>
            <pc:sldMk cId="1519746111" sldId="5773"/>
            <ac:spMk id="17" creationId="{C684D9A0-8F1B-6249-EB6E-0A109436C73E}"/>
          </ac:spMkLst>
        </pc:spChg>
        <pc:spChg chg="add mod ord">
          <ac:chgData name="Menold, Paul" userId="51be9bec-ade3-4e21-8ea3-a4fa8b9bed85" providerId="ADAL" clId="{50D65809-C001-418F-853F-807F7FC538E4}" dt="2024-08-28T14:00:19.027" v="1835"/>
          <ac:spMkLst>
            <pc:docMk/>
            <pc:sldMk cId="1519746111" sldId="5773"/>
            <ac:spMk id="18" creationId="{63A2F6BD-B0D8-E004-A53F-B282E94EA6E7}"/>
          </ac:spMkLst>
        </pc:spChg>
        <pc:spChg chg="add mod">
          <ac:chgData name="Menold, Paul" userId="51be9bec-ade3-4e21-8ea3-a4fa8b9bed85" providerId="ADAL" clId="{50D65809-C001-418F-853F-807F7FC538E4}" dt="2024-09-02T10:34:57.413" v="6660" actId="207"/>
          <ac:spMkLst>
            <pc:docMk/>
            <pc:sldMk cId="1519746111" sldId="5773"/>
            <ac:spMk id="19" creationId="{C5067742-51D9-2FF4-6215-9C86EE434E0E}"/>
          </ac:spMkLst>
        </pc:spChg>
        <pc:spChg chg="add mod">
          <ac:chgData name="Menold, Paul" userId="51be9bec-ade3-4e21-8ea3-a4fa8b9bed85" providerId="ADAL" clId="{50D65809-C001-418F-853F-807F7FC538E4}" dt="2024-08-28T14:04:12.627" v="2013" actId="20577"/>
          <ac:spMkLst>
            <pc:docMk/>
            <pc:sldMk cId="1519746111" sldId="5773"/>
            <ac:spMk id="20" creationId="{8C7562CA-46F4-961C-3C12-D934C4D7763B}"/>
          </ac:spMkLst>
        </pc:spChg>
        <pc:spChg chg="mod">
          <ac:chgData name="Menold, Paul" userId="51be9bec-ade3-4e21-8ea3-a4fa8b9bed85" providerId="ADAL" clId="{50D65809-C001-418F-853F-807F7FC538E4}" dt="2024-08-28T14:01:54.184" v="1908" actId="14100"/>
          <ac:spMkLst>
            <pc:docMk/>
            <pc:sldMk cId="1519746111" sldId="5773"/>
            <ac:spMk id="21" creationId="{54031391-C486-B17E-C520-A38B2918B4CD}"/>
          </ac:spMkLst>
        </pc:spChg>
        <pc:spChg chg="add mod">
          <ac:chgData name="Menold, Paul" userId="51be9bec-ade3-4e21-8ea3-a4fa8b9bed85" providerId="ADAL" clId="{50D65809-C001-418F-853F-807F7FC538E4}" dt="2024-08-28T14:02:07.733" v="1910" actId="196"/>
          <ac:spMkLst>
            <pc:docMk/>
            <pc:sldMk cId="1519746111" sldId="5773"/>
            <ac:spMk id="22" creationId="{A9107B12-ABC2-45F9-0F26-3B7A547FDCB2}"/>
          </ac:spMkLst>
        </pc:spChg>
        <pc:spChg chg="add mod">
          <ac:chgData name="Menold, Paul" userId="51be9bec-ade3-4e21-8ea3-a4fa8b9bed85" providerId="ADAL" clId="{50D65809-C001-418F-853F-807F7FC538E4}" dt="2024-08-28T14:02:52.682" v="1942" actId="1076"/>
          <ac:spMkLst>
            <pc:docMk/>
            <pc:sldMk cId="1519746111" sldId="5773"/>
            <ac:spMk id="23" creationId="{9464E553-0322-1657-BA1F-D82656881543}"/>
          </ac:spMkLst>
        </pc:spChg>
        <pc:spChg chg="add mod">
          <ac:chgData name="Menold, Paul" userId="51be9bec-ade3-4e21-8ea3-a4fa8b9bed85" providerId="ADAL" clId="{50D65809-C001-418F-853F-807F7FC538E4}" dt="2024-08-28T14:03:06.731" v="1967" actId="20577"/>
          <ac:spMkLst>
            <pc:docMk/>
            <pc:sldMk cId="1519746111" sldId="5773"/>
            <ac:spMk id="24" creationId="{4F4A3177-A1F7-4EA0-76E3-4E4014175F50}"/>
          </ac:spMkLst>
        </pc:spChg>
        <pc:spChg chg="add mod">
          <ac:chgData name="Menold, Paul" userId="51be9bec-ade3-4e21-8ea3-a4fa8b9bed85" providerId="ADAL" clId="{50D65809-C001-418F-853F-807F7FC538E4}" dt="2024-08-28T14:03:25.885" v="1971" actId="1076"/>
          <ac:spMkLst>
            <pc:docMk/>
            <pc:sldMk cId="1519746111" sldId="5773"/>
            <ac:spMk id="25" creationId="{C0B051FF-245E-1B24-8FC2-2059D9CC20E1}"/>
          </ac:spMkLst>
        </pc:spChg>
        <pc:spChg chg="add mod">
          <ac:chgData name="Menold, Paul" userId="51be9bec-ade3-4e21-8ea3-a4fa8b9bed85" providerId="ADAL" clId="{50D65809-C001-418F-853F-807F7FC538E4}" dt="2024-08-28T14:03:55.832" v="2011" actId="1076"/>
          <ac:spMkLst>
            <pc:docMk/>
            <pc:sldMk cId="1519746111" sldId="5773"/>
            <ac:spMk id="26" creationId="{819EAA22-2B54-4B72-E2B8-18665A609C8A}"/>
          </ac:spMkLst>
        </pc:spChg>
        <pc:spChg chg="add del mod">
          <ac:chgData name="Menold, Paul" userId="51be9bec-ade3-4e21-8ea3-a4fa8b9bed85" providerId="ADAL" clId="{50D65809-C001-418F-853F-807F7FC538E4}" dt="2024-08-28T14:03:30.587" v="1973" actId="478"/>
          <ac:spMkLst>
            <pc:docMk/>
            <pc:sldMk cId="1519746111" sldId="5773"/>
            <ac:spMk id="27" creationId="{86139925-C5E5-E615-BAB0-3A47F15C72E4}"/>
          </ac:spMkLst>
        </pc:spChg>
        <pc:grpChg chg="add mod ord">
          <ac:chgData name="Menold, Paul" userId="51be9bec-ade3-4e21-8ea3-a4fa8b9bed85" providerId="ADAL" clId="{50D65809-C001-418F-853F-807F7FC538E4}" dt="2024-08-28T14:00:19.028" v="1837"/>
          <ac:grpSpMkLst>
            <pc:docMk/>
            <pc:sldMk cId="1519746111" sldId="5773"/>
            <ac:grpSpMk id="16" creationId="{EDB61B39-A210-0CA0-95BF-59CCA3CA8C12}"/>
          </ac:grpSpMkLst>
        </pc:grpChg>
        <pc:graphicFrameChg chg="add mod ord modVis replST">
          <ac:chgData name="Menold, Paul" userId="51be9bec-ade3-4e21-8ea3-a4fa8b9bed85" providerId="ADAL" clId="{50D65809-C001-418F-853F-807F7FC538E4}" dt="2024-08-28T14:00:19.033" v="1841"/>
          <ac:graphicFrameMkLst>
            <pc:docMk/>
            <pc:sldMk cId="1519746111" sldId="5773"/>
            <ac:graphicFrameMk id="4" creationId="{219AC40B-F14C-F823-F3E5-D1860183E7AE}"/>
          </ac:graphicFrameMkLst>
        </pc:graphicFrameChg>
      </pc:sldChg>
      <pc:sldChg chg="addSp delSp modSp new mod modClrScheme chgLayout">
        <pc:chgData name="Menold, Paul" userId="51be9bec-ade3-4e21-8ea3-a4fa8b9bed85" providerId="ADAL" clId="{50D65809-C001-418F-853F-807F7FC538E4}" dt="2024-09-02T10:35:24.085" v="6661" actId="20577"/>
        <pc:sldMkLst>
          <pc:docMk/>
          <pc:sldMk cId="1021813619" sldId="5774"/>
        </pc:sldMkLst>
        <pc:spChg chg="mod ord">
          <ac:chgData name="Menold, Paul" userId="51be9bec-ade3-4e21-8ea3-a4fa8b9bed85" providerId="ADAL" clId="{50D65809-C001-418F-853F-807F7FC538E4}" dt="2024-08-29T09:32:56.945" v="3582" actId="948"/>
          <ac:spMkLst>
            <pc:docMk/>
            <pc:sldMk cId="1021813619" sldId="5774"/>
            <ac:spMk id="2" creationId="{A7AF06F5-5AFE-96A0-E553-A9F7CD5E13E7}"/>
          </ac:spMkLst>
        </pc:spChg>
        <pc:spChg chg="mod ord">
          <ac:chgData name="Menold, Paul" userId="51be9bec-ade3-4e21-8ea3-a4fa8b9bed85" providerId="ADAL" clId="{50D65809-C001-418F-853F-807F7FC538E4}" dt="2024-08-29T09:33:59.557" v="3924" actId="6549"/>
          <ac:spMkLst>
            <pc:docMk/>
            <pc:sldMk cId="1021813619" sldId="5774"/>
            <ac:spMk id="3" creationId="{3922D444-E598-5FBF-D253-BF9116562130}"/>
          </ac:spMkLst>
        </pc:spChg>
        <pc:spChg chg="add del mod modVis">
          <ac:chgData name="Menold, Paul" userId="51be9bec-ade3-4e21-8ea3-a4fa8b9bed85" providerId="ADAL" clId="{50D65809-C001-418F-853F-807F7FC538E4}" dt="2024-08-28T14:08:38.552" v="2311"/>
          <ac:spMkLst>
            <pc:docMk/>
            <pc:sldMk cId="1021813619" sldId="5774"/>
            <ac:spMk id="5" creationId="{0AC97A19-4A8E-7537-20BC-8F4BC397CBF0}"/>
          </ac:spMkLst>
        </pc:spChg>
        <pc:spChg chg="add del mod modVis">
          <ac:chgData name="Menold, Paul" userId="51be9bec-ade3-4e21-8ea3-a4fa8b9bed85" providerId="ADAL" clId="{50D65809-C001-418F-853F-807F7FC538E4}" dt="2024-08-29T08:57:34.632" v="2693"/>
          <ac:spMkLst>
            <pc:docMk/>
            <pc:sldMk cId="1021813619" sldId="5774"/>
            <ac:spMk id="5" creationId="{D0620DF2-D952-BE0A-5F80-9A63793D2718}"/>
          </ac:spMkLst>
        </pc:spChg>
        <pc:spChg chg="add del mod modVis">
          <ac:chgData name="Menold, Paul" userId="51be9bec-ade3-4e21-8ea3-a4fa8b9bed85" providerId="ADAL" clId="{50D65809-C001-418F-853F-807F7FC538E4}" dt="2024-08-28T14:08:39.453" v="2338"/>
          <ac:spMkLst>
            <pc:docMk/>
            <pc:sldMk cId="1021813619" sldId="5774"/>
            <ac:spMk id="6" creationId="{4740FA5D-0A94-17E0-2EDB-9010A44FEF5E}"/>
          </ac:spMkLst>
        </pc:spChg>
        <pc:spChg chg="add del mod modVis">
          <ac:chgData name="Menold, Paul" userId="51be9bec-ade3-4e21-8ea3-a4fa8b9bed85" providerId="ADAL" clId="{50D65809-C001-418F-853F-807F7FC538E4}" dt="2024-08-29T08:57:35.982" v="2721"/>
          <ac:spMkLst>
            <pc:docMk/>
            <pc:sldMk cId="1021813619" sldId="5774"/>
            <ac:spMk id="6" creationId="{C9A6C102-B588-DC9C-65F0-4EB5A38B031F}"/>
          </ac:spMkLst>
        </pc:spChg>
        <pc:spChg chg="add del mod modVis">
          <ac:chgData name="Menold, Paul" userId="51be9bec-ade3-4e21-8ea3-a4fa8b9bed85" providerId="ADAL" clId="{50D65809-C001-418F-853F-807F7FC538E4}" dt="2024-08-28T14:08:40.144" v="2363"/>
          <ac:spMkLst>
            <pc:docMk/>
            <pc:sldMk cId="1021813619" sldId="5774"/>
            <ac:spMk id="7" creationId="{48898FBE-1FCD-4608-7D31-E589A9D693BB}"/>
          </ac:spMkLst>
        </pc:spChg>
        <pc:spChg chg="add del mod modVis">
          <ac:chgData name="Menold, Paul" userId="51be9bec-ade3-4e21-8ea3-a4fa8b9bed85" providerId="ADAL" clId="{50D65809-C001-418F-853F-807F7FC538E4}" dt="2024-08-29T08:58:11.700" v="2872"/>
          <ac:spMkLst>
            <pc:docMk/>
            <pc:sldMk cId="1021813619" sldId="5774"/>
            <ac:spMk id="7" creationId="{E54EF95B-BE62-D8DE-B58B-B94A1A57236E}"/>
          </ac:spMkLst>
        </pc:spChg>
        <pc:spChg chg="add del mod modVis">
          <ac:chgData name="Menold, Paul" userId="51be9bec-ade3-4e21-8ea3-a4fa8b9bed85" providerId="ADAL" clId="{50D65809-C001-418F-853F-807F7FC538E4}" dt="2024-08-28T14:08:42.193" v="2397"/>
          <ac:spMkLst>
            <pc:docMk/>
            <pc:sldMk cId="1021813619" sldId="5774"/>
            <ac:spMk id="8" creationId="{14FCE3C6-5E75-8B37-2508-B7A4DE6F38F0}"/>
          </ac:spMkLst>
        </pc:spChg>
        <pc:spChg chg="add del mod modVis">
          <ac:chgData name="Menold, Paul" userId="51be9bec-ade3-4e21-8ea3-a4fa8b9bed85" providerId="ADAL" clId="{50D65809-C001-418F-853F-807F7FC538E4}" dt="2024-08-29T08:58:15.217" v="2898"/>
          <ac:spMkLst>
            <pc:docMk/>
            <pc:sldMk cId="1021813619" sldId="5774"/>
            <ac:spMk id="8" creationId="{9D837839-2A66-43A7-AE13-B641CF7794C7}"/>
          </ac:spMkLst>
        </pc:spChg>
        <pc:spChg chg="add del mod modVis">
          <ac:chgData name="Menold, Paul" userId="51be9bec-ade3-4e21-8ea3-a4fa8b9bed85" providerId="ADAL" clId="{50D65809-C001-418F-853F-807F7FC538E4}" dt="2024-08-28T14:08:43.016" v="2424"/>
          <ac:spMkLst>
            <pc:docMk/>
            <pc:sldMk cId="1021813619" sldId="5774"/>
            <ac:spMk id="9" creationId="{1BF95C84-8946-0E45-8B2F-9D0B7D7ABA84}"/>
          </ac:spMkLst>
        </pc:spChg>
        <pc:spChg chg="mod">
          <ac:chgData name="Menold, Paul" userId="51be9bec-ade3-4e21-8ea3-a4fa8b9bed85" providerId="ADAL" clId="{50D65809-C001-418F-853F-807F7FC538E4}" dt="2024-08-29T09:34:48.881" v="4107" actId="20577"/>
          <ac:spMkLst>
            <pc:docMk/>
            <pc:sldMk cId="1021813619" sldId="5774"/>
            <ac:spMk id="9" creationId="{B5FADDB2-90F2-FBC5-4552-B299D0D0D5F7}"/>
          </ac:spMkLst>
        </pc:spChg>
        <pc:spChg chg="add del mod">
          <ac:chgData name="Menold, Paul" userId="51be9bec-ade3-4e21-8ea3-a4fa8b9bed85" providerId="ADAL" clId="{50D65809-C001-418F-853F-807F7FC538E4}" dt="2024-08-29T08:56:41.012" v="2646" actId="478"/>
          <ac:spMkLst>
            <pc:docMk/>
            <pc:sldMk cId="1021813619" sldId="5774"/>
            <ac:spMk id="10" creationId="{6201BA30-0E7B-5712-C9B5-6938857BDCDE}"/>
          </ac:spMkLst>
        </pc:spChg>
        <pc:spChg chg="mod">
          <ac:chgData name="Menold, Paul" userId="51be9bec-ade3-4e21-8ea3-a4fa8b9bed85" providerId="ADAL" clId="{50D65809-C001-418F-853F-807F7FC538E4}" dt="2024-08-29T09:35:46.514" v="4296" actId="20577"/>
          <ac:spMkLst>
            <pc:docMk/>
            <pc:sldMk cId="1021813619" sldId="5774"/>
            <ac:spMk id="11" creationId="{D317548B-E81A-F789-6076-43F45B7E1A2C}"/>
          </ac:spMkLst>
        </pc:spChg>
        <pc:spChg chg="mod">
          <ac:chgData name="Menold, Paul" userId="51be9bec-ade3-4e21-8ea3-a4fa8b9bed85" providerId="ADAL" clId="{50D65809-C001-418F-853F-807F7FC538E4}" dt="2024-09-02T10:35:24.085" v="6661" actId="20577"/>
          <ac:spMkLst>
            <pc:docMk/>
            <pc:sldMk cId="1021813619" sldId="5774"/>
            <ac:spMk id="12" creationId="{43F067B3-4452-8A96-5E3E-B0B0741671B4}"/>
          </ac:spMkLst>
        </pc:spChg>
        <pc:spChg chg="mod">
          <ac:chgData name="Menold, Paul" userId="51be9bec-ade3-4e21-8ea3-a4fa8b9bed85" providerId="ADAL" clId="{50D65809-C001-418F-853F-807F7FC538E4}" dt="2024-08-29T09:42:56.159" v="4942" actId="20577"/>
          <ac:spMkLst>
            <pc:docMk/>
            <pc:sldMk cId="1021813619" sldId="5774"/>
            <ac:spMk id="13" creationId="{7D1580BD-5C61-2976-A572-1FFA67417EE6}"/>
          </ac:spMkLst>
        </pc:spChg>
        <pc:spChg chg="mod">
          <ac:chgData name="Menold, Paul" userId="51be9bec-ade3-4e21-8ea3-a4fa8b9bed85" providerId="ADAL" clId="{50D65809-C001-418F-853F-807F7FC538E4}" dt="2024-08-29T09:42:32.784" v="4895" actId="20577"/>
          <ac:spMkLst>
            <pc:docMk/>
            <pc:sldMk cId="1021813619" sldId="5774"/>
            <ac:spMk id="14" creationId="{2D1E66CF-27F7-E95C-E571-552987A0C06B}"/>
          </ac:spMkLst>
        </pc:spChg>
        <pc:spChg chg="mod">
          <ac:chgData name="Menold, Paul" userId="51be9bec-ade3-4e21-8ea3-a4fa8b9bed85" providerId="ADAL" clId="{50D65809-C001-418F-853F-807F7FC538E4}" dt="2024-08-29T08:59:26.942" v="3082" actId="20577"/>
          <ac:spMkLst>
            <pc:docMk/>
            <pc:sldMk cId="1021813619" sldId="5774"/>
            <ac:spMk id="15" creationId="{DCB0ED54-EC6A-EBC0-BDBE-5963FB6F0B88}"/>
          </ac:spMkLst>
        </pc:spChg>
        <pc:spChg chg="mod">
          <ac:chgData name="Menold, Paul" userId="51be9bec-ade3-4e21-8ea3-a4fa8b9bed85" providerId="ADAL" clId="{50D65809-C001-418F-853F-807F7FC538E4}" dt="2024-08-29T08:59:31.726" v="3095" actId="20577"/>
          <ac:spMkLst>
            <pc:docMk/>
            <pc:sldMk cId="1021813619" sldId="5774"/>
            <ac:spMk id="16" creationId="{92F656B3-F3BD-63B0-E1CF-AE6E730D9474}"/>
          </ac:spMkLst>
        </pc:spChg>
        <pc:spChg chg="mod">
          <ac:chgData name="Menold, Paul" userId="51be9bec-ade3-4e21-8ea3-a4fa8b9bed85" providerId="ADAL" clId="{50D65809-C001-418F-853F-807F7FC538E4}" dt="2024-08-29T08:59:43.905" v="3119" actId="299"/>
          <ac:spMkLst>
            <pc:docMk/>
            <pc:sldMk cId="1021813619" sldId="5774"/>
            <ac:spMk id="17" creationId="{D58E6C4A-E5F8-E68A-FA57-1D59F082F2C2}"/>
          </ac:spMkLst>
        </pc:spChg>
        <pc:spChg chg="mod">
          <ac:chgData name="Menold, Paul" userId="51be9bec-ade3-4e21-8ea3-a4fa8b9bed85" providerId="ADAL" clId="{50D65809-C001-418F-853F-807F7FC538E4}" dt="2024-08-29T08:59:58.357" v="3157" actId="299"/>
          <ac:spMkLst>
            <pc:docMk/>
            <pc:sldMk cId="1021813619" sldId="5774"/>
            <ac:spMk id="18" creationId="{F4FF1366-D9AC-4812-189D-391718A9C71A}"/>
          </ac:spMkLst>
        </pc:spChg>
        <pc:spChg chg="mod">
          <ac:chgData name="Menold, Paul" userId="51be9bec-ade3-4e21-8ea3-a4fa8b9bed85" providerId="ADAL" clId="{50D65809-C001-418F-853F-807F7FC538E4}" dt="2024-08-29T09:00:10.966" v="3204" actId="20577"/>
          <ac:spMkLst>
            <pc:docMk/>
            <pc:sldMk cId="1021813619" sldId="5774"/>
            <ac:spMk id="19" creationId="{E415EE76-26B0-C019-C571-456543C90C28}"/>
          </ac:spMkLst>
        </pc:spChg>
        <pc:spChg chg="add mod">
          <ac:chgData name="Menold, Paul" userId="51be9bec-ade3-4e21-8ea3-a4fa8b9bed85" providerId="ADAL" clId="{50D65809-C001-418F-853F-807F7FC538E4}" dt="2024-08-29T09:41:07.131" v="4619" actId="20577"/>
          <ac:spMkLst>
            <pc:docMk/>
            <pc:sldMk cId="1021813619" sldId="5774"/>
            <ac:spMk id="21" creationId="{055724C6-068E-123F-D80D-E354FB81A01F}"/>
          </ac:spMkLst>
        </pc:spChg>
        <pc:spChg chg="add del mod modVis">
          <ac:chgData name="Menold, Paul" userId="51be9bec-ade3-4e21-8ea3-a4fa8b9bed85" providerId="ADAL" clId="{50D65809-C001-418F-853F-807F7FC538E4}" dt="2024-08-29T09:32:25.076" v="3383"/>
          <ac:spMkLst>
            <pc:docMk/>
            <pc:sldMk cId="1021813619" sldId="5774"/>
            <ac:spMk id="22" creationId="{0751823D-930D-2593-4520-05E41F30F1A9}"/>
          </ac:spMkLst>
        </pc:spChg>
        <pc:spChg chg="add del mod modVis">
          <ac:chgData name="Menold, Paul" userId="51be9bec-ade3-4e21-8ea3-a4fa8b9bed85" providerId="ADAL" clId="{50D65809-C001-418F-853F-807F7FC538E4}" dt="2024-08-29T09:32:25.992" v="3408"/>
          <ac:spMkLst>
            <pc:docMk/>
            <pc:sldMk cId="1021813619" sldId="5774"/>
            <ac:spMk id="23" creationId="{D266A596-C022-C80F-5D09-A803A8354ADD}"/>
          </ac:spMkLst>
        </pc:spChg>
        <pc:spChg chg="add del mod modVis">
          <ac:chgData name="Menold, Paul" userId="51be9bec-ade3-4e21-8ea3-a4fa8b9bed85" providerId="ADAL" clId="{50D65809-C001-418F-853F-807F7FC538E4}" dt="2024-08-29T09:32:29.658" v="3434"/>
          <ac:spMkLst>
            <pc:docMk/>
            <pc:sldMk cId="1021813619" sldId="5774"/>
            <ac:spMk id="24" creationId="{373840F7-7E09-30CB-03AE-7A90462DB2F4}"/>
          </ac:spMkLst>
        </pc:spChg>
        <pc:spChg chg="add del mod modVis">
          <ac:chgData name="Menold, Paul" userId="51be9bec-ade3-4e21-8ea3-a4fa8b9bed85" providerId="ADAL" clId="{50D65809-C001-418F-853F-807F7FC538E4}" dt="2024-08-29T09:32:31.432" v="3468"/>
          <ac:spMkLst>
            <pc:docMk/>
            <pc:sldMk cId="1021813619" sldId="5774"/>
            <ac:spMk id="25" creationId="{A742541E-5ADF-64A2-1252-D90E8D96593A}"/>
          </ac:spMkLst>
        </pc:spChg>
        <pc:spChg chg="add del mod modVis">
          <ac:chgData name="Menold, Paul" userId="51be9bec-ade3-4e21-8ea3-a4fa8b9bed85" providerId="ADAL" clId="{50D65809-C001-418F-853F-807F7FC538E4}" dt="2024-08-29T09:32:36.210" v="3494"/>
          <ac:spMkLst>
            <pc:docMk/>
            <pc:sldMk cId="1021813619" sldId="5774"/>
            <ac:spMk id="26" creationId="{E8C21298-C0DB-B3BE-FFB1-946F435B6D9A}"/>
          </ac:spMkLst>
        </pc:spChg>
        <pc:spChg chg="add del mod modVis">
          <ac:chgData name="Menold, Paul" userId="51be9bec-ade3-4e21-8ea3-a4fa8b9bed85" providerId="ADAL" clId="{50D65809-C001-418F-853F-807F7FC538E4}" dt="2024-08-29T09:32:37.249" v="3521"/>
          <ac:spMkLst>
            <pc:docMk/>
            <pc:sldMk cId="1021813619" sldId="5774"/>
            <ac:spMk id="27" creationId="{AE313980-9ECE-8770-FEFB-1765306BF403}"/>
          </ac:spMkLst>
        </pc:spChg>
        <pc:spChg chg="add del mod modVis">
          <ac:chgData name="Menold, Paul" userId="51be9bec-ade3-4e21-8ea3-a4fa8b9bed85" providerId="ADAL" clId="{50D65809-C001-418F-853F-807F7FC538E4}" dt="2024-08-29T09:32:38.420" v="3546"/>
          <ac:spMkLst>
            <pc:docMk/>
            <pc:sldMk cId="1021813619" sldId="5774"/>
            <ac:spMk id="28" creationId="{F8FBEB5F-98FB-24AF-7A75-6E4188BA4D82}"/>
          </ac:spMkLst>
        </pc:spChg>
        <pc:spChg chg="add del mod modVis">
          <ac:chgData name="Menold, Paul" userId="51be9bec-ade3-4e21-8ea3-a4fa8b9bed85" providerId="ADAL" clId="{50D65809-C001-418F-853F-807F7FC538E4}" dt="2024-08-29T09:32:55.765" v="3578"/>
          <ac:spMkLst>
            <pc:docMk/>
            <pc:sldMk cId="1021813619" sldId="5774"/>
            <ac:spMk id="29" creationId="{1050C05E-3BCC-8AEB-41AE-44BC8E933FBB}"/>
          </ac:spMkLst>
        </pc:spChg>
        <pc:spChg chg="add del mod modVis">
          <ac:chgData name="Menold, Paul" userId="51be9bec-ade3-4e21-8ea3-a4fa8b9bed85" providerId="ADAL" clId="{50D65809-C001-418F-853F-807F7FC538E4}" dt="2024-08-29T09:32:56.991" v="3603"/>
          <ac:spMkLst>
            <pc:docMk/>
            <pc:sldMk cId="1021813619" sldId="5774"/>
            <ac:spMk id="30" creationId="{3A458F16-2ADC-358D-E14F-D44A43E80B7E}"/>
          </ac:spMkLst>
        </pc:spChg>
        <pc:grpChg chg="add mod">
          <ac:chgData name="Menold, Paul" userId="51be9bec-ade3-4e21-8ea3-a4fa8b9bed85" providerId="ADAL" clId="{50D65809-C001-418F-853F-807F7FC538E4}" dt="2024-08-29T09:01:41.054" v="3345" actId="1076"/>
          <ac:grpSpMkLst>
            <pc:docMk/>
            <pc:sldMk cId="1021813619" sldId="5774"/>
            <ac:grpSpMk id="20" creationId="{62855121-E27A-F32E-55A4-4F1D1D0731EB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09:32:56.993" v="3605"/>
          <ac:graphicFrameMkLst>
            <pc:docMk/>
            <pc:sldMk cId="1021813619" sldId="5774"/>
            <ac:graphicFrameMk id="4" creationId="{342E7B23-CFBA-4DB0-DA49-611E0568F056}"/>
          </ac:graphicFrameMkLst>
        </pc:graphicFrameChg>
      </pc:sldChg>
      <pc:sldChg chg="modSp add del mod modClrScheme chgLayout">
        <pc:chgData name="Menold, Paul" userId="51be9bec-ade3-4e21-8ea3-a4fa8b9bed85" providerId="ADAL" clId="{50D65809-C001-418F-853F-807F7FC538E4}" dt="2024-08-29T13:24:01.908" v="6659" actId="20577"/>
        <pc:sldMkLst>
          <pc:docMk/>
          <pc:sldMk cId="3118569873" sldId="5775"/>
        </pc:sldMkLst>
        <pc:spChg chg="mod ord">
          <ac:chgData name="Menold, Paul" userId="51be9bec-ade3-4e21-8ea3-a4fa8b9bed85" providerId="ADAL" clId="{50D65809-C001-418F-853F-807F7FC538E4}" dt="2024-08-29T10:05:38.069" v="6632" actId="948"/>
          <ac:spMkLst>
            <pc:docMk/>
            <pc:sldMk cId="3118569873" sldId="5775"/>
            <ac:spMk id="2" creationId="{431DBFF2-12F2-6DE6-7B75-538C8D1C37E2}"/>
          </ac:spMkLst>
        </pc:spChg>
        <pc:spChg chg="mod">
          <ac:chgData name="Menold, Paul" userId="51be9bec-ade3-4e21-8ea3-a4fa8b9bed85" providerId="ADAL" clId="{50D65809-C001-418F-853F-807F7FC538E4}" dt="2024-08-29T13:24:01.908" v="6659" actId="20577"/>
          <ac:spMkLst>
            <pc:docMk/>
            <pc:sldMk cId="3118569873" sldId="5775"/>
            <ac:spMk id="5" creationId="{FDE0EB51-1463-6762-6A1B-63E36B5C53EC}"/>
          </ac:spMkLst>
        </pc:spChg>
        <pc:graphicFrameChg chg="mod">
          <ac:chgData name="Menold, Paul" userId="51be9bec-ade3-4e21-8ea3-a4fa8b9bed85" providerId="ADAL" clId="{50D65809-C001-418F-853F-807F7FC538E4}" dt="2024-08-29T10:05:38.089" v="6636"/>
          <ac:graphicFrameMkLst>
            <pc:docMk/>
            <pc:sldMk cId="3118569873" sldId="5775"/>
            <ac:graphicFrameMk id="3" creationId="{41A72FF2-89BA-61D6-75AF-E19EECE716D7}"/>
          </ac:graphicFrameMkLst>
        </pc:graphicFrameChg>
      </pc:sldChg>
    </pc:docChg>
  </pc:docChgLst>
  <pc:docChgLst>
    <pc:chgData name="vonWaldow, Ulrich" userId="c64b3fe1-2fbf-4408-adc4-30add62e991f" providerId="ADAL" clId="{B950C22A-5938-48AD-AC46-6F03DFECC1A3}"/>
    <pc:docChg chg="undo custSel addSld delSld modSld addMainMaster delMainMaster modMainMaster replTag">
      <pc:chgData name="vonWaldow, Ulrich" userId="c64b3fe1-2fbf-4408-adc4-30add62e991f" providerId="ADAL" clId="{B950C22A-5938-48AD-AC46-6F03DFECC1A3}" dt="2024-09-05T12:02:44.222" v="166" actId="6549"/>
      <pc:docMkLst>
        <pc:docMk/>
      </pc:docMkLst>
      <pc:sldChg chg="del">
        <pc:chgData name="vonWaldow, Ulrich" userId="c64b3fe1-2fbf-4408-adc4-30add62e991f" providerId="ADAL" clId="{B950C22A-5938-48AD-AC46-6F03DFECC1A3}" dt="2024-09-05T11:50:58.665" v="83" actId="47"/>
        <pc:sldMkLst>
          <pc:docMk/>
          <pc:sldMk cId="145262318" sldId="5764"/>
        </pc:sldMkLst>
      </pc:sldChg>
      <pc:sldChg chg="addSp delSp modSp new mod chgLayout">
        <pc:chgData name="vonWaldow, Ulrich" userId="c64b3fe1-2fbf-4408-adc4-30add62e991f" providerId="ADAL" clId="{B950C22A-5938-48AD-AC46-6F03DFECC1A3}" dt="2024-09-05T12:02:44.222" v="166" actId="6549"/>
        <pc:sldMkLst>
          <pc:docMk/>
          <pc:sldMk cId="1040443247" sldId="5765"/>
        </pc:sldMkLst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" creationId="{BF1EF360-4C1C-896A-A0C4-1E72C2DC5169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" creationId="{0CC2DBC4-9EEB-2426-5E74-4A26963C6780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4" creationId="{090040BC-05E2-CC9F-FA77-BD788A12A04A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5" creationId="{C93CB325-3C5C-C013-A604-E384214F390E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6" creationId="{86F9A1FE-04CC-0A71-1C7B-80379397F633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7" creationId="{81CC0DAF-8E3D-3E1B-7316-E602700ECBE5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8" creationId="{CB3669F7-38E2-9959-F205-03B20A13A97A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9" creationId="{BBDA346D-FEAB-6590-C78C-C8014D6869E6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0" creationId="{7E3590BE-49FC-B44F-AC43-0AE6ADC657E5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1" creationId="{E1028F28-911C-2AF1-8104-086594348808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2" creationId="{17E803D1-0798-8F9A-1617-12379A3C8D7F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3" creationId="{06BED4DC-512F-9C80-B5CE-440A70FEA030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4" creationId="{AA7B2C51-3E7B-597C-D9D6-FFDBBE355386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5" creationId="{4F65C770-0D5D-284D-ABF7-DC1D1195D30C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6" creationId="{1D392927-48C7-8794-FE1D-685B4570CE28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7" creationId="{61E4DD0D-9FFB-7501-82F5-666FDAB16813}"/>
          </ac:spMkLst>
        </pc:spChg>
        <pc:spChg chg="del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8" creationId="{C8142EBE-3574-2498-A660-E36A92135DB8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19" creationId="{24F7045C-182E-9C63-4626-E1CC35E309A0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0" creationId="{A7F828D4-CEC3-0AB2-8177-B44D271C90A0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1" creationId="{65C78752-286C-E6DB-E837-506B1DD2ABF1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2" creationId="{5FFF91AF-E46E-B02F-75A3-F3D4C2CDA072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3" creationId="{1C8FCB0E-1B9C-D766-4CE0-242BF376F03F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4" creationId="{FC5FEF20-D875-2819-C308-8BA4A9F67F4C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5" creationId="{40662D20-E7EA-94E8-CE35-D64F732ED6A0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6" creationId="{B70229BF-5656-1A67-F4CD-A1992D2DA315}"/>
          </ac:spMkLst>
        </pc:spChg>
        <pc:spChg chg="add mod ord">
          <ac:chgData name="vonWaldow, Ulrich" userId="c64b3fe1-2fbf-4408-adc4-30add62e991f" providerId="ADAL" clId="{B950C22A-5938-48AD-AC46-6F03DFECC1A3}" dt="2024-09-05T12:02:44.222" v="166" actId="6549"/>
          <ac:spMkLst>
            <pc:docMk/>
            <pc:sldMk cId="1040443247" sldId="5765"/>
            <ac:spMk id="27" creationId="{6487D061-494A-CBFF-6670-93748101491C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8" creationId="{8FED24F5-74B2-A5F9-44A3-41132BE0A8F2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29" creationId="{C357C365-3772-632E-D7B4-DAB15EBE4006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0" creationId="{C57ED6C0-85FA-E18B-C97B-7BDA6303E1BD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1" creationId="{5D17CB07-8E85-6DFE-676F-7CD7AD713EF1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2" creationId="{02254B03-D951-DEA0-5DDB-1C2A9C6612CC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3" creationId="{4A4ED5D3-290F-B78D-6081-73B61916B1B3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4" creationId="{320B4206-F6A0-D74F-E08E-4CED39B14E94}"/>
          </ac:spMkLst>
        </pc:spChg>
        <pc:spChg chg="add mod ord">
          <ac:chgData name="vonWaldow, Ulrich" userId="c64b3fe1-2fbf-4408-adc4-30add62e991f" providerId="ADAL" clId="{B950C22A-5938-48AD-AC46-6F03DFECC1A3}" dt="2024-09-05T11:50:56.014" v="65" actId="700"/>
          <ac:spMkLst>
            <pc:docMk/>
            <pc:sldMk cId="1040443247" sldId="5765"/>
            <ac:spMk id="35" creationId="{7DDE92EE-E4B2-308D-D987-58F814F34D5D}"/>
          </ac:spMkLst>
        </pc:spChg>
        <pc:graphicFrameChg chg="add mod ord modVis replST">
          <ac:chgData name="vonWaldow, Ulrich" userId="c64b3fe1-2fbf-4408-adc4-30add62e991f" providerId="ADAL" clId="{B950C22A-5938-48AD-AC46-6F03DFECC1A3}" dt="2024-09-05T11:50:56.621" v="82"/>
          <ac:graphicFrameMkLst>
            <pc:docMk/>
            <pc:sldMk cId="1040443247" sldId="5765"/>
            <ac:graphicFrameMk id="36" creationId="{B133E706-D3A3-E4F7-1207-B42F2CEB111B}"/>
          </ac:graphicFrameMkLst>
        </pc:graphicFrameChg>
      </pc:sldChg>
      <pc:sldChg chg="addSp delSp modSp new del mod modClrScheme chgLayout">
        <pc:chgData name="vonWaldow, Ulrich" userId="c64b3fe1-2fbf-4408-adc4-30add62e991f" providerId="ADAL" clId="{B950C22A-5938-48AD-AC46-6F03DFECC1A3}" dt="2024-09-05T11:57:13.086" v="151" actId="47"/>
        <pc:sldMkLst>
          <pc:docMk/>
          <pc:sldMk cId="1609811733" sldId="5766"/>
        </pc:sldMkLst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2" creationId="{8B9CABDF-D743-970E-EBEB-8264A1B5E79F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3" creationId="{FD5F42ED-15CD-6E18-1E5D-86AB67A80FCF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4" creationId="{A12DAA40-34A7-BF27-71ED-6162FCBDE133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5" creationId="{26876945-A794-57CF-A808-9C5CFDA82A82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6" creationId="{AA2AB530-8705-98D1-9947-490D05A61F29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7" creationId="{EAB186EA-6E26-D0DE-6351-BF1171DA8D7E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8" creationId="{DB4A414D-0203-7977-E9F4-F4713E026A64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9" creationId="{64030D67-8851-A0E8-9097-F9803EE2CED1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0" creationId="{B21E8BE8-6025-DB43-17F2-040129363EBC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1" creationId="{6715B908-6597-85C3-3867-AB76FB07024F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2" creationId="{14E47172-36E6-2B44-1F7E-F0CDF03DD500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3" creationId="{3D4D46F1-FD20-91CC-DA9A-83CE4FBF4745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4" creationId="{14D3AAA2-3048-5427-377E-45B479DD4DE6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5" creationId="{EA395C7E-61B4-6D10-3000-2D81B2D23CD3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6" creationId="{C4C5BD9E-E47F-2D9E-3710-5050EA8874A7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7" creationId="{0CCE4666-F36A-6D5C-CB3B-7F587B98CBD2}"/>
          </ac:spMkLst>
        </pc:spChg>
        <pc:spChg chg="del">
          <ac:chgData name="vonWaldow, Ulrich" userId="c64b3fe1-2fbf-4408-adc4-30add62e991f" providerId="ADAL" clId="{B950C22A-5938-48AD-AC46-6F03DFECC1A3}" dt="2024-09-05T11:56:16.201" v="111" actId="700"/>
          <ac:spMkLst>
            <pc:docMk/>
            <pc:sldMk cId="1609811733" sldId="5766"/>
            <ac:spMk id="18" creationId="{A9F4B801-2A66-22DB-D5D9-7EFEA2898D85}"/>
          </ac:spMkLst>
        </pc:spChg>
        <pc:spChg chg="mod">
          <ac:chgData name="vonWaldow, Ulrich" userId="c64b3fe1-2fbf-4408-adc4-30add62e991f" providerId="ADAL" clId="{B950C22A-5938-48AD-AC46-6F03DFECC1A3}" dt="2024-09-05T11:56:42.260" v="143" actId="20577"/>
          <ac:spMkLst>
            <pc:docMk/>
            <pc:sldMk cId="1609811733" sldId="5766"/>
            <ac:spMk id="20" creationId="{A3689731-1BEC-3D2F-04CE-993E63EB347F}"/>
          </ac:spMkLst>
        </pc:spChg>
        <pc:graphicFrameChg chg="add mod modVis replST">
          <ac:chgData name="vonWaldow, Ulrich" userId="c64b3fe1-2fbf-4408-adc4-30add62e991f" providerId="ADAL" clId="{B950C22A-5938-48AD-AC46-6F03DFECC1A3}" dt="2024-09-05T11:56:16.516" v="126"/>
          <ac:graphicFrameMkLst>
            <pc:docMk/>
            <pc:sldMk cId="1609811733" sldId="5766"/>
            <ac:graphicFrameMk id="19" creationId="{A904F6DF-B2B9-05F6-EDD8-A338117A7CD3}"/>
          </ac:graphicFrameMkLst>
        </pc:graphicFrameChg>
        <pc:picChg chg="add mod">
          <ac:chgData name="vonWaldow, Ulrich" userId="c64b3fe1-2fbf-4408-adc4-30add62e991f" providerId="ADAL" clId="{B950C22A-5938-48AD-AC46-6F03DFECC1A3}" dt="2024-09-05T11:56:50.037" v="150"/>
          <ac:picMkLst>
            <pc:docMk/>
            <pc:sldMk cId="1609811733" sldId="5766"/>
            <ac:picMk id="21" creationId="{6E9B8D7C-8C25-0C59-E725-65589059CED6}"/>
          </ac:picMkLst>
        </pc:picChg>
      </pc:sldChg>
      <pc:sldChg chg="new del">
        <pc:chgData name="vonWaldow, Ulrich" userId="c64b3fe1-2fbf-4408-adc4-30add62e991f" providerId="ADAL" clId="{B950C22A-5938-48AD-AC46-6F03DFECC1A3}" dt="2024-09-05T11:51:29.874" v="86" actId="47"/>
        <pc:sldMkLst>
          <pc:docMk/>
          <pc:sldMk cId="1871225185" sldId="5766"/>
        </pc:sldMkLst>
      </pc:sldChg>
      <pc:sldMasterChg chg="addSldLayout delSldLayout modSldLayout">
        <pc:chgData name="vonWaldow, Ulrich" userId="c64b3fe1-2fbf-4408-adc4-30add62e991f" providerId="ADAL" clId="{B950C22A-5938-48AD-AC46-6F03DFECC1A3}" dt="2024-09-05T12:02:14.581" v="161" actId="1037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B950C22A-5938-48AD-AC46-6F03DFECC1A3}" dt="2024-09-05T11:51:02.808" v="84" actId="2696"/>
          <pc:sldLayoutMkLst>
            <pc:docMk/>
            <pc:sldMasterMk cId="3620642421" sldId="2147483927"/>
            <pc:sldLayoutMk cId="1177655157" sldId="2147484007"/>
          </pc:sldLayoutMkLst>
        </pc:sldLayoutChg>
        <pc:sldLayoutChg chg="addSp delSp modSp mod">
          <pc:chgData name="vonWaldow, Ulrich" userId="c64b3fe1-2fbf-4408-adc4-30add62e991f" providerId="ADAL" clId="{B950C22A-5938-48AD-AC46-6F03DFECC1A3}" dt="2024-09-05T12:02:14.581" v="161" actId="1037"/>
          <pc:sldLayoutMkLst>
            <pc:docMk/>
            <pc:sldMasterMk cId="3620642421" sldId="2147483927"/>
            <pc:sldLayoutMk cId="3947853347" sldId="2147484008"/>
          </pc:sldLayoutMkLst>
          <pc:spChg chg="mod">
            <ac:chgData name="vonWaldow, Ulrich" userId="c64b3fe1-2fbf-4408-adc4-30add62e991f" providerId="ADAL" clId="{B950C22A-5938-48AD-AC46-6F03DFECC1A3}" dt="2024-09-05T11:40:16.922" v="31"/>
            <ac:spMkLst>
              <pc:docMk/>
              <pc:sldMasterMk cId="3620642421" sldId="2147483927"/>
              <pc:sldLayoutMk cId="3947853347" sldId="2147484008"/>
              <ac:spMk id="9" creationId="{DD42B26F-D6DE-CEF7-27D8-AB1F29DD79A2}"/>
            </ac:spMkLst>
          </pc:spChg>
          <pc:spChg chg="mod">
            <ac:chgData name="vonWaldow, Ulrich" userId="c64b3fe1-2fbf-4408-adc4-30add62e991f" providerId="ADAL" clId="{B950C22A-5938-48AD-AC46-6F03DFECC1A3}" dt="2024-09-05T11:38:52.117" v="0" actId="948"/>
            <ac:spMkLst>
              <pc:docMk/>
              <pc:sldMasterMk cId="3620642421" sldId="2147483927"/>
              <pc:sldLayoutMk cId="3947853347" sldId="2147484008"/>
              <ac:spMk id="14" creationId="{00000000-0000-0000-0000-000000000000}"/>
            </ac:spMkLst>
          </pc:spChg>
          <pc:spChg chg="mod">
            <ac:chgData name="vonWaldow, Ulrich" userId="c64b3fe1-2fbf-4408-adc4-30add62e991f" providerId="ADAL" clId="{B950C22A-5938-48AD-AC46-6F03DFECC1A3}" dt="2024-09-05T11:40:02.291" v="21" actId="14100"/>
            <ac:spMkLst>
              <pc:docMk/>
              <pc:sldMasterMk cId="3620642421" sldId="2147483927"/>
              <pc:sldLayoutMk cId="3947853347" sldId="2147484008"/>
              <ac:spMk id="17" creationId="{4DC961F9-FC46-E3B1-59C4-025FA58CF6EB}"/>
            </ac:spMkLst>
          </pc:spChg>
          <pc:spChg chg="mod topLvl">
            <ac:chgData name="vonWaldow, Ulrich" userId="c64b3fe1-2fbf-4408-adc4-30add62e991f" providerId="ADAL" clId="{B950C22A-5938-48AD-AC46-6F03DFECC1A3}" dt="2024-09-05T12:02:10.646" v="153" actId="164"/>
            <ac:spMkLst>
              <pc:docMk/>
              <pc:sldMasterMk cId="3620642421" sldId="2147483927"/>
              <pc:sldLayoutMk cId="3947853347" sldId="2147484008"/>
              <ac:spMk id="29" creationId="{1D06FC2E-CEF9-2957-F00B-1BE607E49ECE}"/>
            </ac:spMkLst>
          </pc:spChg>
          <pc:spChg chg="mod">
            <ac:chgData name="vonWaldow, Ulrich" userId="c64b3fe1-2fbf-4408-adc4-30add62e991f" providerId="ADAL" clId="{B950C22A-5938-48AD-AC46-6F03DFECC1A3}" dt="2024-09-05T11:50:46.217" v="63"/>
            <ac:spMkLst>
              <pc:docMk/>
              <pc:sldMasterMk cId="3620642421" sldId="2147483927"/>
              <pc:sldLayoutMk cId="3947853347" sldId="2147484008"/>
              <ac:spMk id="48" creationId="{C0269B60-F42B-8D22-2C3F-AE43F03D64F4}"/>
            </ac:spMkLst>
          </pc:spChg>
          <pc:grpChg chg="add mod">
            <ac:chgData name="vonWaldow, Ulrich" userId="c64b3fe1-2fbf-4408-adc4-30add62e991f" providerId="ADAL" clId="{B950C22A-5938-48AD-AC46-6F03DFECC1A3}" dt="2024-09-05T12:02:14.581" v="161" actId="1037"/>
            <ac:grpSpMkLst>
              <pc:docMk/>
              <pc:sldMasterMk cId="3620642421" sldId="2147483927"/>
              <pc:sldLayoutMk cId="3947853347" sldId="2147484008"/>
              <ac:grpSpMk id="2" creationId="{2ED6938C-DCC4-45F1-D332-E12181E1A878}"/>
            </ac:grpSpMkLst>
          </pc:grpChg>
          <pc:grpChg chg="del mod">
            <ac:chgData name="vonWaldow, Ulrich" userId="c64b3fe1-2fbf-4408-adc4-30add62e991f" providerId="ADAL" clId="{B950C22A-5938-48AD-AC46-6F03DFECC1A3}" dt="2024-09-05T11:40:50.788" v="47" actId="165"/>
            <ac:grpSpMkLst>
              <pc:docMk/>
              <pc:sldMasterMk cId="3620642421" sldId="2147483927"/>
              <pc:sldLayoutMk cId="3947853347" sldId="2147484008"/>
              <ac:grpSpMk id="28" creationId="{09149FCD-97B8-C54A-E02A-F1C3B6BB82FD}"/>
            </ac:grpSpMkLst>
          </pc:grpChg>
          <pc:graphicFrameChg chg="mod">
            <ac:chgData name="vonWaldow, Ulrich" userId="c64b3fe1-2fbf-4408-adc4-30add62e991f" providerId="ADAL" clId="{B950C22A-5938-48AD-AC46-6F03DFECC1A3}" dt="2024-09-05T11:38:52.126" v="4"/>
            <ac:graphicFrameMkLst>
              <pc:docMk/>
              <pc:sldMasterMk cId="3620642421" sldId="2147483927"/>
              <pc:sldLayoutMk cId="3947853347" sldId="2147484008"/>
              <ac:graphicFrameMk id="4" creationId="{7E1283FF-1F57-7F70-DD9E-8C2D47584803}"/>
            </ac:graphicFrameMkLst>
          </pc:graphicFrameChg>
          <pc:picChg chg="add del mod">
            <ac:chgData name="vonWaldow, Ulrich" userId="c64b3fe1-2fbf-4408-adc4-30add62e991f" providerId="ADAL" clId="{B950C22A-5938-48AD-AC46-6F03DFECC1A3}" dt="2024-09-05T11:39:11.407" v="6" actId="478"/>
            <ac:picMkLst>
              <pc:docMk/>
              <pc:sldMasterMk cId="3620642421" sldId="2147483927"/>
              <pc:sldLayoutMk cId="3947853347" sldId="2147484008"/>
              <ac:picMk id="2" creationId="{166FC0BD-B992-CFFA-84A2-DEEB67571674}"/>
            </ac:picMkLst>
          </pc:picChg>
          <pc:picChg chg="del">
            <ac:chgData name="vonWaldow, Ulrich" userId="c64b3fe1-2fbf-4408-adc4-30add62e991f" providerId="ADAL" clId="{B950C22A-5938-48AD-AC46-6F03DFECC1A3}" dt="2024-09-05T11:39:11.407" v="6" actId="478"/>
            <ac:picMkLst>
              <pc:docMk/>
              <pc:sldMasterMk cId="3620642421" sldId="2147483927"/>
              <pc:sldLayoutMk cId="3947853347" sldId="2147484008"/>
              <ac:picMk id="5" creationId="{26E0BF07-DC96-CD42-353F-15654423F4EA}"/>
            </ac:picMkLst>
          </pc:picChg>
          <pc:picChg chg="add mod">
            <ac:chgData name="vonWaldow, Ulrich" userId="c64b3fe1-2fbf-4408-adc4-30add62e991f" providerId="ADAL" clId="{B950C22A-5938-48AD-AC46-6F03DFECC1A3}" dt="2024-09-05T11:39:11.788" v="7"/>
            <ac:picMkLst>
              <pc:docMk/>
              <pc:sldMasterMk cId="3620642421" sldId="2147483927"/>
              <pc:sldLayoutMk cId="3947853347" sldId="2147484008"/>
              <ac:picMk id="6" creationId="{072CD1A2-8A41-C2E4-100E-851AA9671008}"/>
            </ac:picMkLst>
          </pc:picChg>
          <pc:picChg chg="mod">
            <ac:chgData name="vonWaldow, Ulrich" userId="c64b3fe1-2fbf-4408-adc4-30add62e991f" providerId="ADAL" clId="{B950C22A-5938-48AD-AC46-6F03DFECC1A3}" dt="2024-09-05T11:40:32.977" v="42"/>
            <ac:picMkLst>
              <pc:docMk/>
              <pc:sldMasterMk cId="3620642421" sldId="2147483927"/>
              <pc:sldLayoutMk cId="3947853347" sldId="2147484008"/>
              <ac:picMk id="10" creationId="{17540618-D0CF-3E13-FDF4-E24B33E70A9A}"/>
            </ac:picMkLst>
          </pc:picChg>
          <pc:picChg chg="mod">
            <ac:chgData name="vonWaldow, Ulrich" userId="c64b3fe1-2fbf-4408-adc4-30add62e991f" providerId="ADAL" clId="{B950C22A-5938-48AD-AC46-6F03DFECC1A3}" dt="2024-09-05T11:40:30.150" v="38"/>
            <ac:picMkLst>
              <pc:docMk/>
              <pc:sldMasterMk cId="3620642421" sldId="2147483927"/>
              <pc:sldLayoutMk cId="3947853347" sldId="2147484008"/>
              <ac:picMk id="18" creationId="{72B80359-4D32-6F57-D7DE-1BA78CAB719D}"/>
            </ac:picMkLst>
          </pc:picChg>
          <pc:picChg chg="mod topLvl">
            <ac:chgData name="vonWaldow, Ulrich" userId="c64b3fe1-2fbf-4408-adc4-30add62e991f" providerId="ADAL" clId="{B950C22A-5938-48AD-AC46-6F03DFECC1A3}" dt="2024-09-05T12:02:10.646" v="153" actId="164"/>
            <ac:picMkLst>
              <pc:docMk/>
              <pc:sldMasterMk cId="3620642421" sldId="2147483927"/>
              <pc:sldLayoutMk cId="3947853347" sldId="2147484008"/>
              <ac:picMk id="30" creationId="{AAB911AD-2B48-71F8-2E22-4D1217181C14}"/>
            </ac:picMkLst>
          </pc:picChg>
        </pc:sldLayoutChg>
        <pc:sldLayoutChg chg="addSp delSp modSp new del mod">
          <pc:chgData name="vonWaldow, Ulrich" userId="c64b3fe1-2fbf-4408-adc4-30add62e991f" providerId="ADAL" clId="{B950C22A-5938-48AD-AC46-6F03DFECC1A3}" dt="2024-09-05T11:57:15.814" v="152" actId="2696"/>
          <pc:sldLayoutMkLst>
            <pc:docMk/>
            <pc:sldMasterMk cId="3620642421" sldId="2147483927"/>
            <pc:sldLayoutMk cId="525500314" sldId="2147484009"/>
          </pc:sldLayoutMkLst>
          <pc:spChg chg="del">
            <ac:chgData name="vonWaldow, Ulrich" userId="c64b3fe1-2fbf-4408-adc4-30add62e991f" providerId="ADAL" clId="{B950C22A-5938-48AD-AC46-6F03DFECC1A3}" dt="2024-09-05T11:56:05.794" v="95" actId="478"/>
            <ac:spMkLst>
              <pc:docMk/>
              <pc:sldMasterMk cId="3620642421" sldId="2147483927"/>
              <pc:sldLayoutMk cId="525500314" sldId="2147484009"/>
              <ac:spMk id="2" creationId="{0292D74F-8813-ED4F-9981-C337C7DB152F}"/>
            </ac:spMkLst>
          </pc:spChg>
          <pc:graphicFrameChg chg="add mod modVis replST">
            <ac:chgData name="vonWaldow, Ulrich" userId="c64b3fe1-2fbf-4408-adc4-30add62e991f" providerId="ADAL" clId="{B950C22A-5938-48AD-AC46-6F03DFECC1A3}" dt="2024-09-05T11:56:06.311" v="110"/>
            <ac:graphicFrameMkLst>
              <pc:docMk/>
              <pc:sldMasterMk cId="3620642421" sldId="2147483927"/>
              <pc:sldLayoutMk cId="525500314" sldId="2147484009"/>
              <ac:graphicFrameMk id="3" creationId="{2330BF45-6712-A9AC-68B0-37524899ECA2}"/>
            </ac:graphicFrameMkLst>
          </pc:graphicFrameChg>
        </pc:sldLayoutChg>
      </pc:sldMasterChg>
      <pc:sldMasterChg chg="modSp new del mod addSldLayout delSldLayout">
        <pc:chgData name="vonWaldow, Ulrich" userId="c64b3fe1-2fbf-4408-adc4-30add62e991f" providerId="ADAL" clId="{B950C22A-5938-48AD-AC46-6F03DFECC1A3}" dt="2024-09-05T11:56:01.379" v="93" actId="6938"/>
        <pc:sldMasterMkLst>
          <pc:docMk/>
          <pc:sldMasterMk cId="3206923202" sldId="2147484009"/>
        </pc:sldMasterMkLst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264433463" sldId="2147484010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2321096048" sldId="2147484011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722477192" sldId="2147484012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751901568" sldId="2147484013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92885182" sldId="2147484014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559647011" sldId="2147484015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172367441" sldId="2147484016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3371391403" sldId="2147484017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1719365682" sldId="2147484018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2946267810" sldId="2147484019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6:01.379" v="93" actId="6938"/>
          <pc:sldLayoutMkLst>
            <pc:docMk/>
            <pc:sldMasterMk cId="3206923202" sldId="2147484009"/>
            <pc:sldLayoutMk cId="769928667" sldId="2147484020"/>
          </pc:sldLayoutMkLst>
        </pc:sldLayoutChg>
      </pc:sldMasterChg>
      <pc:sldMasterChg chg="modSp new del mod addSldLayout delSldLayout">
        <pc:chgData name="vonWaldow, Ulrich" userId="c64b3fe1-2fbf-4408-adc4-30add62e991f" providerId="ADAL" clId="{B950C22A-5938-48AD-AC46-6F03DFECC1A3}" dt="2024-09-05T11:55:58.408" v="90" actId="6938"/>
        <pc:sldMasterMkLst>
          <pc:docMk/>
          <pc:sldMasterMk cId="3263247085" sldId="2147484009"/>
        </pc:sldMasterMkLst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451313532" sldId="2147484010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162897151" sldId="2147484011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3393072309" sldId="2147484012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3143316231" sldId="2147484013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4205823937" sldId="2147484014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442086938" sldId="2147484015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965817504" sldId="2147484016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1291830447" sldId="2147484017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3114364120" sldId="2147484018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453554350" sldId="2147484019"/>
          </pc:sldLayoutMkLst>
        </pc:sldLayoutChg>
        <pc:sldLayoutChg chg="new del replId">
          <pc:chgData name="vonWaldow, Ulrich" userId="c64b3fe1-2fbf-4408-adc4-30add62e991f" providerId="ADAL" clId="{B950C22A-5938-48AD-AC46-6F03DFECC1A3}" dt="2024-09-05T11:55:58.408" v="90" actId="6938"/>
          <pc:sldLayoutMkLst>
            <pc:docMk/>
            <pc:sldMasterMk cId="3263247085" sldId="2147484009"/>
            <pc:sldLayoutMk cId="2197416903" sldId="2147484020"/>
          </pc:sldLayoutMkLst>
        </pc:sldLayoutChg>
      </pc:sldMasterChg>
    </pc:docChg>
  </pc:docChgLst>
  <pc:docChgLst>
    <pc:chgData name="vonWaldow, Ulrich" userId="c64b3fe1-2fbf-4408-adc4-30add62e991f" providerId="ADAL" clId="{D7CEE91C-F44A-470B-8ED1-2194F4D6C504}"/>
    <pc:docChg chg="undo custSel addSld delSld modSld delMainMaster modMainMaster delSection modSection replTag">
      <pc:chgData name="vonWaldow, Ulrich" userId="c64b3fe1-2fbf-4408-adc4-30add62e991f" providerId="ADAL" clId="{D7CEE91C-F44A-470B-8ED1-2194F4D6C504}" dt="2024-09-05T08:56:55.537" v="117" actId="47"/>
      <pc:docMkLst>
        <pc:docMk/>
      </pc:docMkLst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12036009" sldId="2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26331544" sldId="2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59139144" sldId="2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62189987" sldId="2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37155156" sldId="2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7"/>
        </pc:sldMkLst>
      </pc:sldChg>
      <pc:sldChg chg="modSp del mod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9"/>
        </pc:sldMkLst>
        <pc:spChg chg="mod">
          <ac:chgData name="vonWaldow, Ulrich" userId="c64b3fe1-2fbf-4408-adc4-30add62e991f" providerId="ADAL" clId="{D7CEE91C-F44A-470B-8ED1-2194F4D6C504}" dt="2024-09-05T08:53:33.134" v="1" actId="6549"/>
          <ac:spMkLst>
            <pc:docMk/>
            <pc:sldMk cId="0" sldId="279"/>
            <ac:spMk id="5" creationId="{00000000-0000-0000-0000-000000000000}"/>
          </ac:spMkLst>
        </pc:spChg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8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65971624" sldId="7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85869789" sldId="7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02091173" sldId="7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0961039" sldId="7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9142355" sldId="7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48616334" sldId="7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9059312" sldId="7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07553390" sldId="7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2485573" sldId="7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0752256" sldId="7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02756162" sldId="7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592253419" sldId="7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8823800" sldId="7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09389428" sldId="7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11812046" sldId="78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07303022" sldId="79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00689217" sldId="7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22633791" sldId="8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35142438" sldId="8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28243844" sldId="8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46305619" sldId="8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79281958" sldId="8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72142070" sldId="8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02400463" sldId="8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644351" sldId="8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82944" sldId="8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23992028" sldId="8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05829275" sldId="8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45982330" sldId="8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11227772" sldId="8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2300149" sldId="8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27442613" sldId="8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48604121" sldId="8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92068153" sldId="8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7753098" sldId="8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60505733" sldId="8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12328117" sldId="8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0024936" sldId="8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24188628" sldId="8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6517240" sldId="8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75009705" sldId="8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96019694" sldId="8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14447825" sldId="8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8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44657104" sldId="87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08941546" sldId="8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9928595" sldId="88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6190527" sldId="88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017130" sldId="88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1648055" sldId="88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12524942" sldId="88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63974709" sldId="88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37727572" sldId="8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77387462" sldId="8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9989928" sldId="89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92523909" sldId="90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48023647" sldId="9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38668126" sldId="9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15665869" sldId="9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92894386" sldId="9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23028648" sldId="9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01947467" sldId="9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7386554" sldId="9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55093818" sldId="9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18583278" sldId="9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2843880" sldId="9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67517902" sldId="9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98735116" sldId="9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958752" sldId="9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2908494" sldId="9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81929555" sldId="9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69621190" sldId="9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81440669" sldId="9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13950421" sldId="9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59432009" sldId="9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86050578" sldId="9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6809755" sldId="9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86087461" sldId="9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04058358" sldId="9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0830919" sldId="9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83432152" sldId="9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44278374" sldId="9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3532651" sldId="9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23158883" sldId="94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584785456" sldId="94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9986750" sldId="9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8809197" sldId="9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8678719" sldId="9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8306603" sldId="9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6421009" sldId="9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69735213" sldId="9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7744969" sldId="9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41715912" sldId="9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46969367" sldId="9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46796327" sldId="9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1482591" sldId="96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10226121" sldId="9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4222560" sldId="9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5336552" sldId="9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1197081" sldId="9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21571" sldId="9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26817390" sldId="9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74482486" sldId="9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47365697" sldId="9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75837346" sldId="9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28599537" sldId="97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12661293" sldId="98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66663952" sldId="98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09950215" sldId="98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7945462" sldId="98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19502414" sldId="98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67858727" sldId="99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18820084" sldId="99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0278907" sldId="99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7014116" sldId="99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68591428" sldId="9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603025" sldId="9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68041123" sldId="101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00510049" sldId="10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93421494" sldId="101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34874475" sldId="10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61667292" sldId="10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34760911" sldId="10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02564404" sldId="10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78402479" sldId="10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39578757" sldId="10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84106577" sldId="10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612003" sldId="10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66573270" sldId="10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36969075" sldId="102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0673870" sldId="102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64324700" sldId="102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6312145" sldId="10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04725092" sldId="10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21334792" sldId="10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8808314" sldId="103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55918093" sldId="10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48181362" sldId="10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3757039" sldId="10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11467236" sldId="10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34765493" sldId="10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5539281" sldId="10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32710352" sldId="10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20517649" sldId="10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37599227" sldId="10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1195057" sldId="10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45575030" sldId="10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6807164" sldId="10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09908133" sldId="10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53753804" sldId="10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12265755" sldId="10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07278740" sldId="10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3172441" sldId="10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50348060" sldId="10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4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49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38071557" sldId="150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43451569" sldId="150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48954988" sldId="150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4560847" sldId="15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79088550" sldId="150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54690410" sldId="150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59009816" sldId="15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09193605" sldId="151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39899815" sldId="15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79192407" sldId="15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7594729" sldId="160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21910694" sldId="160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47676457" sldId="16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6937511" sldId="160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8442101" sldId="160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21502710" sldId="160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69011853" sldId="16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7251954" sldId="16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38698288" sldId="16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2156289" sldId="161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18500052" sldId="16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7388384" sldId="161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06603796" sldId="161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4899663" sldId="16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5161693" sldId="16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82962153" sldId="16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21765055" sldId="16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54096430" sldId="16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43436800" sldId="16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36452022" sldId="16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8427948" sldId="16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94712387" sldId="16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49855674" sldId="16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57813140" sldId="162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4208363" sldId="162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42085695" sldId="16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39197164" sldId="16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38044310" sldId="16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37225121" sldId="16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20060647" sldId="16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49673416" sldId="16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38875213" sldId="16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83437470" sldId="16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32244945" sldId="16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73626415" sldId="16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66450724" sldId="16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04183104" sldId="16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1123561" sldId="16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5149813" sldId="16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71699751" sldId="16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89240722" sldId="16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00607401" sldId="16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6985019" sldId="16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74654135" sldId="16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78122000" sldId="16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05293813" sldId="166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909178" sldId="16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43981927" sldId="16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66490359" sldId="16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75079210" sldId="16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32154156" sldId="16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42946152" sldId="16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77808943" sldId="16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28959822" sldId="16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9607720" sldId="258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46988612" sldId="25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2921688" sldId="57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58108139" sldId="57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5684777" sldId="57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91634669" sldId="57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49782265" sldId="57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1085001" sldId="57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94914706" sldId="57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89328249" sldId="57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87955904" sldId="57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9553804" sldId="57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08812204" sldId="57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5762"/>
        </pc:sldMkLst>
      </pc:sldChg>
      <pc:sldChg chg="addSp delSp modSp del mod">
        <pc:chgData name="vonWaldow, Ulrich" userId="c64b3fe1-2fbf-4408-adc4-30add62e991f" providerId="ADAL" clId="{D7CEE91C-F44A-470B-8ED1-2194F4D6C504}" dt="2024-09-05T08:56:55.537" v="117" actId="47"/>
        <pc:sldMkLst>
          <pc:docMk/>
          <pc:sldMk cId="0" sldId="5763"/>
        </pc:sldMkLst>
        <pc:spChg chg="mod">
          <ac:chgData name="vonWaldow, Ulrich" userId="c64b3fe1-2fbf-4408-adc4-30add62e991f" providerId="ADAL" clId="{D7CEE91C-F44A-470B-8ED1-2194F4D6C504}" dt="2024-09-05T08:55:23.055" v="72" actId="948"/>
          <ac:spMkLst>
            <pc:docMk/>
            <pc:sldMk cId="0" sldId="5763"/>
            <ac:spMk id="2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3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4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5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7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8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9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0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1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2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3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4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5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6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D7CEE91C-F44A-470B-8ED1-2194F4D6C504}" dt="2024-09-05T08:55:21.761" v="55" actId="962"/>
          <ac:spMkLst>
            <pc:docMk/>
            <pc:sldMk cId="0" sldId="5763"/>
            <ac:spMk id="18" creationId="{74F0C5CD-2D8E-74D4-0048-FC0A29439E79}"/>
          </ac:spMkLst>
        </pc:spChg>
        <pc:spChg chg="add del mod modVis">
          <ac:chgData name="vonWaldow, Ulrich" userId="c64b3fe1-2fbf-4408-adc4-30add62e991f" providerId="ADAL" clId="{D7CEE91C-F44A-470B-8ED1-2194F4D6C504}" dt="2024-09-05T08:55:23.098" v="93"/>
          <ac:spMkLst>
            <pc:docMk/>
            <pc:sldMk cId="0" sldId="5763"/>
            <ac:spMk id="20" creationId="{8CE5ECC3-3B30-418C-7920-917254035AA1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23" creationId="{D02C90F2-0FDC-4849-D5EE-F64C2BE5EC57}"/>
          </ac:spMkLst>
        </pc:spChg>
        <pc:graphicFrameChg chg="mod">
          <ac:chgData name="vonWaldow, Ulrich" userId="c64b3fe1-2fbf-4408-adc4-30add62e991f" providerId="ADAL" clId="{D7CEE91C-F44A-470B-8ED1-2194F4D6C504}" dt="2024-09-05T08:55:23.100" v="95"/>
          <ac:graphicFrameMkLst>
            <pc:docMk/>
            <pc:sldMk cId="0" sldId="5763"/>
            <ac:graphicFrameMk id="19" creationId="{20FF12E9-90D4-647A-7046-B5DFFDF71AD9}"/>
          </ac:graphicFrameMkLst>
        </pc:graphicFrameChg>
        <pc:picChg chg="add del mod">
          <ac:chgData name="vonWaldow, Ulrich" userId="c64b3fe1-2fbf-4408-adc4-30add62e991f" providerId="ADAL" clId="{D7CEE91C-F44A-470B-8ED1-2194F4D6C504}" dt="2024-09-05T08:54:56.696" v="13" actId="478"/>
          <ac:picMkLst>
            <pc:docMk/>
            <pc:sldMk cId="0" sldId="5763"/>
            <ac:picMk id="6" creationId="{33799A13-9C5C-50C2-3D6B-E1C9BA31DDF0}"/>
          </ac:picMkLst>
        </pc:picChg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5262318" sldId="5764"/>
        </pc:sldMkLst>
      </pc:sldChg>
      <pc:sldChg chg="add del">
        <pc:chgData name="vonWaldow, Ulrich" userId="c64b3fe1-2fbf-4408-adc4-30add62e991f" providerId="ADAL" clId="{D7CEE91C-F44A-470B-8ED1-2194F4D6C504}" dt="2024-09-05T08:54:14.270" v="5"/>
        <pc:sldMkLst>
          <pc:docMk/>
          <pc:sldMk cId="2665276837" sldId="57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03277858" sldId="57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77646394" sldId="57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02176200" sldId="57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55553897" sldId="57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65193750" sldId="57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26169800" sldId="57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7312964" sldId="57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62031129" sldId="57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19746111" sldId="57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21813619" sldId="57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8569873" sldId="57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52158917" sldId="57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28025006" sldId="5777"/>
        </pc:sldMkLst>
      </pc:sldChg>
      <pc:sldMasterChg chg="delSldLayout modSldLayout">
        <pc:chgData name="vonWaldow, Ulrich" userId="c64b3fe1-2fbf-4408-adc4-30add62e991f" providerId="ADAL" clId="{D7CEE91C-F44A-470B-8ED1-2194F4D6C504}" dt="2024-09-05T08:55:47.134" v="115" actId="207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D7CEE91C-F44A-470B-8ED1-2194F4D6C504}" dt="2024-09-05T08:55:34.718" v="107" actId="2696"/>
          <pc:sldLayoutMkLst>
            <pc:docMk/>
            <pc:sldMasterMk cId="3620642421" sldId="2147483927"/>
            <pc:sldLayoutMk cId="1233350959" sldId="2147483929"/>
          </pc:sldLayoutMkLst>
        </pc:sldLayoutChg>
        <pc:sldLayoutChg chg="del">
          <pc:chgData name="vonWaldow, Ulrich" userId="c64b3fe1-2fbf-4408-adc4-30add62e991f" providerId="ADAL" clId="{D7CEE91C-F44A-470B-8ED1-2194F4D6C504}" dt="2024-09-05T08:55:35.177" v="108" actId="2696"/>
          <pc:sldLayoutMkLst>
            <pc:docMk/>
            <pc:sldMasterMk cId="3620642421" sldId="2147483927"/>
            <pc:sldLayoutMk cId="94598451" sldId="2147483930"/>
          </pc:sldLayoutMkLst>
        </pc:sldLayoutChg>
        <pc:sldLayoutChg chg="del">
          <pc:chgData name="vonWaldow, Ulrich" userId="c64b3fe1-2fbf-4408-adc4-30add62e991f" providerId="ADAL" clId="{D7CEE91C-F44A-470B-8ED1-2194F4D6C504}" dt="2024-09-05T08:55:35.605" v="109" actId="2696"/>
          <pc:sldLayoutMkLst>
            <pc:docMk/>
            <pc:sldMasterMk cId="3620642421" sldId="2147483927"/>
            <pc:sldLayoutMk cId="1490106319" sldId="2147483931"/>
          </pc:sldLayoutMkLst>
        </pc:sldLayoutChg>
        <pc:sldLayoutChg chg="del">
          <pc:chgData name="vonWaldow, Ulrich" userId="c64b3fe1-2fbf-4408-adc4-30add62e991f" providerId="ADAL" clId="{D7CEE91C-F44A-470B-8ED1-2194F4D6C504}" dt="2024-09-05T08:55:36.802" v="111" actId="2696"/>
          <pc:sldLayoutMkLst>
            <pc:docMk/>
            <pc:sldMasterMk cId="3620642421" sldId="2147483927"/>
            <pc:sldLayoutMk cId="1395063160" sldId="2147483932"/>
          </pc:sldLayoutMkLst>
        </pc:sldLayoutChg>
        <pc:sldLayoutChg chg="del">
          <pc:chgData name="vonWaldow, Ulrich" userId="c64b3fe1-2fbf-4408-adc4-30add62e991f" providerId="ADAL" clId="{D7CEE91C-F44A-470B-8ED1-2194F4D6C504}" dt="2024-09-05T08:55:38.417" v="113" actId="2696"/>
          <pc:sldLayoutMkLst>
            <pc:docMk/>
            <pc:sldMasterMk cId="3620642421" sldId="2147483927"/>
            <pc:sldLayoutMk cId="2290391661" sldId="2147483951"/>
          </pc:sldLayoutMkLst>
        </pc:sldLayoutChg>
        <pc:sldLayoutChg chg="del">
          <pc:chgData name="vonWaldow, Ulrich" userId="c64b3fe1-2fbf-4408-adc4-30add62e991f" providerId="ADAL" clId="{D7CEE91C-F44A-470B-8ED1-2194F4D6C504}" dt="2024-09-05T08:55:38.774" v="114" actId="2696"/>
          <pc:sldLayoutMkLst>
            <pc:docMk/>
            <pc:sldMasterMk cId="3620642421" sldId="2147483927"/>
            <pc:sldLayoutMk cId="1579076640" sldId="2147483956"/>
          </pc:sldLayoutMkLst>
        </pc:sldLayoutChg>
        <pc:sldLayoutChg chg="del">
          <pc:chgData name="vonWaldow, Ulrich" userId="c64b3fe1-2fbf-4408-adc4-30add62e991f" providerId="ADAL" clId="{D7CEE91C-F44A-470B-8ED1-2194F4D6C504}" dt="2024-09-05T08:55:35.935" v="110" actId="2696"/>
          <pc:sldLayoutMkLst>
            <pc:docMk/>
            <pc:sldMasterMk cId="3620642421" sldId="2147483927"/>
            <pc:sldLayoutMk cId="2304737885" sldId="2147483957"/>
          </pc:sldLayoutMkLst>
        </pc:sldLayoutChg>
        <pc:sldLayoutChg chg="modSp mod">
          <pc:chgData name="vonWaldow, Ulrich" userId="c64b3fe1-2fbf-4408-adc4-30add62e991f" providerId="ADAL" clId="{D7CEE91C-F44A-470B-8ED1-2194F4D6C504}" dt="2024-09-05T08:55:47.134" v="115" actId="207"/>
          <pc:sldLayoutMkLst>
            <pc:docMk/>
            <pc:sldMasterMk cId="3620642421" sldId="2147483927"/>
            <pc:sldLayoutMk cId="1177655157" sldId="2147484007"/>
          </pc:sldLayoutMkLst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9" creationId="{94A5A9BB-ABCC-39B6-3A2F-713163FA3754}"/>
            </ac:spMkLst>
          </pc:spChg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16" creationId="{AA11F49E-35B8-0CCD-FA07-157FA808BB78}"/>
            </ac:spMkLst>
          </pc:spChg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18" creationId="{E8A4FF14-553B-08AC-2A2B-6F1C3B25BB0B}"/>
            </ac:spMkLst>
          </pc:spChg>
          <pc:graphicFrameChg chg="mod">
            <ac:chgData name="vonWaldow, Ulrich" userId="c64b3fe1-2fbf-4408-adc4-30add62e991f" providerId="ADAL" clId="{D7CEE91C-F44A-470B-8ED1-2194F4D6C504}" dt="2024-09-05T08:55:22.191" v="67"/>
            <ac:graphicFrameMkLst>
              <pc:docMk/>
              <pc:sldMasterMk cId="3620642421" sldId="2147483927"/>
              <pc:sldLayoutMk cId="1177655157" sldId="2147484007"/>
              <ac:graphicFrameMk id="4" creationId="{7E1283FF-1F57-7F70-DD9E-8C2D47584803}"/>
            </ac:graphicFrameMkLst>
          </pc:graphicFrameChg>
        </pc:sldLayoutChg>
        <pc:sldLayoutChg chg="modSp del mod">
          <pc:chgData name="vonWaldow, Ulrich" userId="c64b3fe1-2fbf-4408-adc4-30add62e991f" providerId="ADAL" clId="{D7CEE91C-F44A-470B-8ED1-2194F4D6C504}" dt="2024-09-05T08:55:38.017" v="112" actId="2696"/>
          <pc:sldLayoutMkLst>
            <pc:docMk/>
            <pc:sldMasterMk cId="3620642421" sldId="2147483927"/>
            <pc:sldLayoutMk cId="898656720" sldId="2147484008"/>
          </pc:sldLayoutMkLst>
          <pc:graphicFrameChg chg="mod">
            <ac:chgData name="vonWaldow, Ulrich" userId="c64b3fe1-2fbf-4408-adc4-30add62e991f" providerId="ADAL" clId="{D7CEE91C-F44A-470B-8ED1-2194F4D6C504}" dt="2024-09-05T08:55:22.205" v="69"/>
            <ac:graphicFrameMkLst>
              <pc:docMk/>
              <pc:sldMasterMk cId="3620642421" sldId="2147483927"/>
              <pc:sldLayoutMk cId="898656720" sldId="2147484008"/>
              <ac:graphicFrameMk id="5" creationId="{E5C4764E-351C-628B-8F1D-9F684371B4FC}"/>
            </ac:graphicFrameMkLst>
          </pc:graphicFrameChg>
        </pc:sldLayoutChg>
        <pc:sldLayoutChg chg="del">
          <pc:chgData name="vonWaldow, Ulrich" userId="c64b3fe1-2fbf-4408-adc4-30add62e991f" providerId="ADAL" clId="{D7CEE91C-F44A-470B-8ED1-2194F4D6C504}" dt="2024-09-05T08:53:46.305" v="2" actId="47"/>
          <pc:sldLayoutMkLst>
            <pc:docMk/>
            <pc:sldMasterMk cId="3620642421" sldId="2147483927"/>
            <pc:sldLayoutMk cId="1702099029" sldId="2147484009"/>
          </pc:sldLayoutMkLst>
        </pc:sldLayoutChg>
      </pc:sldMasterChg>
      <pc:sldMasterChg chg="del addSldLayout delSldLayout">
        <pc:chgData name="vonWaldow, Ulrich" userId="c64b3fe1-2fbf-4408-adc4-30add62e991f" providerId="ADAL" clId="{D7CEE91C-F44A-470B-8ED1-2194F4D6C504}" dt="2024-09-05T08:55:33.023" v="106" actId="2696"/>
        <pc:sldMasterMkLst>
          <pc:docMk/>
          <pc:sldMasterMk cId="4216947371" sldId="2147484010"/>
        </pc:sldMasterMkLst>
        <pc:sldLayoutChg chg="add del">
          <pc:chgData name="vonWaldow, Ulrich" userId="c64b3fe1-2fbf-4408-adc4-30add62e991f" providerId="ADAL" clId="{D7CEE91C-F44A-470B-8ED1-2194F4D6C504}" dt="2024-09-05T08:55:32.913" v="96" actId="2696"/>
          <pc:sldLayoutMkLst>
            <pc:docMk/>
            <pc:sldMasterMk cId="4216947371" sldId="2147484010"/>
            <pc:sldLayoutMk cId="73455670" sldId="2147484011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26" v="97" actId="2696"/>
          <pc:sldLayoutMkLst>
            <pc:docMk/>
            <pc:sldMasterMk cId="4216947371" sldId="2147484010"/>
            <pc:sldLayoutMk cId="1531123749" sldId="2147484012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40" v="98" actId="2696"/>
          <pc:sldLayoutMkLst>
            <pc:docMk/>
            <pc:sldMasterMk cId="4216947371" sldId="2147484010"/>
            <pc:sldLayoutMk cId="3848401540" sldId="2147484013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55" v="99" actId="2696"/>
          <pc:sldLayoutMkLst>
            <pc:docMk/>
            <pc:sldMasterMk cId="4216947371" sldId="2147484010"/>
            <pc:sldLayoutMk cId="598284281" sldId="2147484014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64" v="100" actId="2696"/>
          <pc:sldLayoutMkLst>
            <pc:docMk/>
            <pc:sldMasterMk cId="4216947371" sldId="2147484010"/>
            <pc:sldLayoutMk cId="786087761" sldId="2147484015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76" v="101" actId="2696"/>
          <pc:sldLayoutMkLst>
            <pc:docMk/>
            <pc:sldMasterMk cId="4216947371" sldId="2147484010"/>
            <pc:sldLayoutMk cId="3864726274" sldId="2147484016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86" v="102" actId="2696"/>
          <pc:sldLayoutMkLst>
            <pc:docMk/>
            <pc:sldMasterMk cId="4216947371" sldId="2147484010"/>
            <pc:sldLayoutMk cId="3520455064" sldId="2147484017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93" v="103" actId="2696"/>
          <pc:sldLayoutMkLst>
            <pc:docMk/>
            <pc:sldMasterMk cId="4216947371" sldId="2147484010"/>
            <pc:sldLayoutMk cId="237727723" sldId="2147484018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3.002" v="104" actId="2696"/>
          <pc:sldLayoutMkLst>
            <pc:docMk/>
            <pc:sldMasterMk cId="4216947371" sldId="2147484010"/>
            <pc:sldLayoutMk cId="2676286583" sldId="2147484019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3.012" v="105" actId="2696"/>
          <pc:sldLayoutMkLst>
            <pc:docMk/>
            <pc:sldMasterMk cId="4216947371" sldId="2147484010"/>
            <pc:sldLayoutMk cId="3126851747" sldId="2147484020"/>
          </pc:sldLayoutMkLst>
        </pc:sldLayoutChg>
      </pc:sldMasterChg>
    </pc:docChg>
  </pc:docChgLst>
  <pc:docChgLst>
    <pc:chgData name="vonWaldow, Ulrich" userId="c64b3fe1-2fbf-4408-adc4-30add62e991f" providerId="ADAL" clId="{B99A90B8-7D29-4456-AFD4-0F3DBA13A596}"/>
    <pc:docChg chg="undo redo custSel addSld delSld modSld sldOrd modSection replTag">
      <pc:chgData name="vonWaldow, Ulrich" userId="c64b3fe1-2fbf-4408-adc4-30add62e991f" providerId="ADAL" clId="{B99A90B8-7D29-4456-AFD4-0F3DBA13A596}" dt="2024-09-03T12:29:11.020" v="112318"/>
      <pc:docMkLst>
        <pc:docMk/>
      </pc:docMkLst>
      <pc:sldChg chg="modSp mod">
        <pc:chgData name="vonWaldow, Ulrich" userId="c64b3fe1-2fbf-4408-adc4-30add62e991f" providerId="ADAL" clId="{B99A90B8-7D29-4456-AFD4-0F3DBA13A596}" dt="2024-08-27T13:46:29.482" v="105114"/>
        <pc:sldMkLst>
          <pc:docMk/>
          <pc:sldMk cId="712036009" sldId="256"/>
        </pc:sldMkLst>
        <pc:spChg chg="mod">
          <ac:chgData name="vonWaldow, Ulrich" userId="c64b3fe1-2fbf-4408-adc4-30add62e991f" providerId="ADAL" clId="{B99A90B8-7D29-4456-AFD4-0F3DBA13A596}" dt="2024-08-27T13:46:29.453" v="105102"/>
          <ac:spMkLst>
            <pc:docMk/>
            <pc:sldMk cId="712036009" sldId="256"/>
            <ac:spMk id="3" creationId="{2AFD7684-7ABC-771D-3E7D-9FEE4807321A}"/>
          </ac:spMkLst>
        </pc:spChg>
        <pc:spChg chg="mod">
          <ac:chgData name="vonWaldow, Ulrich" userId="c64b3fe1-2fbf-4408-adc4-30add62e991f" providerId="ADAL" clId="{B99A90B8-7D29-4456-AFD4-0F3DBA13A596}" dt="2024-08-27T13:46:29.453" v="105104"/>
          <ac:spMkLst>
            <pc:docMk/>
            <pc:sldMk cId="712036009" sldId="256"/>
            <ac:spMk id="6" creationId="{733FAEE7-6A58-ECB4-12D4-7A5A65CE3F2C}"/>
          </ac:spMkLst>
        </pc:spChg>
        <pc:spChg chg="mod">
          <ac:chgData name="vonWaldow, Ulrich" userId="c64b3fe1-2fbf-4408-adc4-30add62e991f" providerId="ADAL" clId="{B99A90B8-7D29-4456-AFD4-0F3DBA13A596}" dt="2024-08-27T13:46:29.469" v="105110" actId="947"/>
          <ac:spMkLst>
            <pc:docMk/>
            <pc:sldMk cId="712036009" sldId="256"/>
            <ac:spMk id="7" creationId="{11CC1EDC-B23A-8AB5-C038-2D55E77A776B}"/>
          </ac:spMkLst>
        </pc:spChg>
        <pc:spChg chg="mod">
          <ac:chgData name="vonWaldow, Ulrich" userId="c64b3fe1-2fbf-4408-adc4-30add62e991f" providerId="ADAL" clId="{B99A90B8-7D29-4456-AFD4-0F3DBA13A596}" dt="2024-08-27T13:46:29.469" v="105108" actId="947"/>
          <ac:spMkLst>
            <pc:docMk/>
            <pc:sldMk cId="712036009" sldId="256"/>
            <ac:spMk id="9" creationId="{D21F1F27-1BEF-0B1D-DD52-0268E0B06B02}"/>
          </ac:spMkLst>
        </pc:spChg>
        <pc:spChg chg="mod">
          <ac:chgData name="vonWaldow, Ulrich" userId="c64b3fe1-2fbf-4408-adc4-30add62e991f" providerId="ADAL" clId="{B99A90B8-7D29-4456-AFD4-0F3DBA13A596}" dt="2024-08-27T13:46:29.469" v="105106" actId="947"/>
          <ac:spMkLst>
            <pc:docMk/>
            <pc:sldMk cId="712036009" sldId="256"/>
            <ac:spMk id="10" creationId="{E1ED3967-3A67-4524-EA8E-B54A2CA4C1DE}"/>
          </ac:spMkLst>
        </pc:spChg>
        <pc:graphicFrameChg chg="mod">
          <ac:chgData name="vonWaldow, Ulrich" userId="c64b3fe1-2fbf-4408-adc4-30add62e991f" providerId="ADAL" clId="{B99A90B8-7D29-4456-AFD4-0F3DBA13A596}" dt="2024-08-27T13:46:29.482" v="105114"/>
          <ac:graphicFrameMkLst>
            <pc:docMk/>
            <pc:sldMk cId="712036009" sldId="256"/>
            <ac:graphicFrameMk id="2" creationId="{D5A768F0-A326-55C0-1CB3-E4A7C2472EE9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9:11.012" v="112310"/>
        <pc:sldMkLst>
          <pc:docMk/>
          <pc:sldMk cId="1126331544" sldId="261"/>
        </pc:sldMkLst>
        <pc:spChg chg="mod replST">
          <ac:chgData name="vonWaldow, Ulrich" userId="c64b3fe1-2fbf-4408-adc4-30add62e991f" providerId="ADAL" clId="{B99A90B8-7D29-4456-AFD4-0F3DBA13A596}" dt="2024-08-26T13:54:28.530" v="34306"/>
          <ac:spMkLst>
            <pc:docMk/>
            <pc:sldMk cId="1126331544" sldId="261"/>
            <ac:spMk id="37" creationId="{D0E5AF7C-0DF6-33F3-DA13-63CD0CD00421}"/>
          </ac:spMkLst>
        </pc:spChg>
        <pc:spChg chg="mod replST">
          <ac:chgData name="vonWaldow, Ulrich" userId="c64b3fe1-2fbf-4408-adc4-30add62e991f" providerId="ADAL" clId="{B99A90B8-7D29-4456-AFD4-0F3DBA13A596}" dt="2024-08-26T13:54:28.530" v="34304"/>
          <ac:spMkLst>
            <pc:docMk/>
            <pc:sldMk cId="1126331544" sldId="261"/>
            <ac:spMk id="40" creationId="{D29B3CCC-428A-B0A4-5A48-1A3A75581D96}"/>
          </ac:spMkLst>
        </pc:spChg>
        <pc:spChg chg="mod replST">
          <ac:chgData name="vonWaldow, Ulrich" userId="c64b3fe1-2fbf-4408-adc4-30add62e991f" providerId="ADAL" clId="{B99A90B8-7D29-4456-AFD4-0F3DBA13A596}" dt="2024-09-03T10:03:59.860" v="110189"/>
          <ac:spMkLst>
            <pc:docMk/>
            <pc:sldMk cId="1126331544" sldId="261"/>
            <ac:spMk id="116" creationId="{84451ADD-FBD8-C67E-6929-060BEFBD7A00}"/>
          </ac:spMkLst>
        </pc:spChg>
        <pc:spChg chg="mod replST">
          <ac:chgData name="vonWaldow, Ulrich" userId="c64b3fe1-2fbf-4408-adc4-30add62e991f" providerId="ADAL" clId="{B99A90B8-7D29-4456-AFD4-0F3DBA13A596}" dt="2024-09-03T12:02:36.963" v="110328"/>
          <ac:spMkLst>
            <pc:docMk/>
            <pc:sldMk cId="1126331544" sldId="261"/>
            <ac:spMk id="119" creationId="{86FF3A4B-4FF3-63C2-DCB4-86EC1C3627A8}"/>
          </ac:spMkLst>
        </pc:spChg>
        <pc:spChg chg="mod replST">
          <ac:chgData name="vonWaldow, Ulrich" userId="c64b3fe1-2fbf-4408-adc4-30add62e991f" providerId="ADAL" clId="{B99A90B8-7D29-4456-AFD4-0F3DBA13A596}" dt="2024-09-03T12:02:36.962" v="110326"/>
          <ac:spMkLst>
            <pc:docMk/>
            <pc:sldMk cId="1126331544" sldId="261"/>
            <ac:spMk id="123" creationId="{FE505344-ADC0-0203-6313-5C4BE3A7066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126331544" sldId="261"/>
            <ac:spMk id="125" creationId="{98857938-C287-03DC-904E-98A30189BCF8}"/>
          </ac:spMkLst>
        </pc:spChg>
        <pc:spChg chg="mod replST">
          <ac:chgData name="vonWaldow, Ulrich" userId="c64b3fe1-2fbf-4408-adc4-30add62e991f" providerId="ADAL" clId="{B99A90B8-7D29-4456-AFD4-0F3DBA13A596}" dt="2024-09-03T12:02:36.961" v="110324"/>
          <ac:spMkLst>
            <pc:docMk/>
            <pc:sldMk cId="1126331544" sldId="261"/>
            <ac:spMk id="126" creationId="{B7E8BF89-BC02-AE18-FE71-F32789898EC0}"/>
          </ac:spMkLst>
        </pc:spChg>
        <pc:spChg chg="mod replST">
          <ac:chgData name="vonWaldow, Ulrich" userId="c64b3fe1-2fbf-4408-adc4-30add62e991f" providerId="ADAL" clId="{B99A90B8-7D29-4456-AFD4-0F3DBA13A596}" dt="2024-09-03T12:02:36.960" v="110322"/>
          <ac:spMkLst>
            <pc:docMk/>
            <pc:sldMk cId="1126331544" sldId="261"/>
            <ac:spMk id="129" creationId="{5409275A-F3DC-0673-5692-36C9AAD0C2A9}"/>
          </ac:spMkLst>
        </pc:spChg>
        <pc:spChg chg="mod replST">
          <ac:chgData name="vonWaldow, Ulrich" userId="c64b3fe1-2fbf-4408-adc4-30add62e991f" providerId="ADAL" clId="{B99A90B8-7D29-4456-AFD4-0F3DBA13A596}" dt="2024-09-03T12:29:11.012" v="112310"/>
          <ac:spMkLst>
            <pc:docMk/>
            <pc:sldMk cId="1126331544" sldId="261"/>
            <ac:spMk id="132" creationId="{BDCF5C04-A7B0-69B5-6DF1-BC6700F8FD68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15" v="112314"/>
        <pc:sldMkLst>
          <pc:docMk/>
          <pc:sldMk cId="3859139144" sldId="266"/>
        </pc:sldMkLst>
        <pc:spChg chg="mod replST">
          <ac:chgData name="vonWaldow, Ulrich" userId="c64b3fe1-2fbf-4408-adc4-30add62e991f" providerId="ADAL" clId="{B99A90B8-7D29-4456-AFD4-0F3DBA13A596}" dt="2024-08-26T13:54:28.530" v="34314"/>
          <ac:spMkLst>
            <pc:docMk/>
            <pc:sldMk cId="3859139144" sldId="266"/>
            <ac:spMk id="37" creationId="{83257E40-65CB-C4AE-C786-CE7785E31848}"/>
          </ac:spMkLst>
        </pc:spChg>
        <pc:spChg chg="mod replST">
          <ac:chgData name="vonWaldow, Ulrich" userId="c64b3fe1-2fbf-4408-adc4-30add62e991f" providerId="ADAL" clId="{B99A90B8-7D29-4456-AFD4-0F3DBA13A596}" dt="2024-08-26T13:54:28.530" v="34312"/>
          <ac:spMkLst>
            <pc:docMk/>
            <pc:sldMk cId="3859139144" sldId="266"/>
            <ac:spMk id="40" creationId="{B9C869AE-4360-97CB-A853-CF20CC0F3216}"/>
          </ac:spMkLst>
        </pc:spChg>
        <pc:spChg chg="mod replST">
          <ac:chgData name="vonWaldow, Ulrich" userId="c64b3fe1-2fbf-4408-adc4-30add62e991f" providerId="ADAL" clId="{B99A90B8-7D29-4456-AFD4-0F3DBA13A596}" dt="2024-09-03T10:03:59.893" v="110213"/>
          <ac:spMkLst>
            <pc:docMk/>
            <pc:sldMk cId="3859139144" sldId="266"/>
            <ac:spMk id="116" creationId="{4D16C110-B92A-D28B-CF65-EF1899BD820D}"/>
          </ac:spMkLst>
        </pc:spChg>
        <pc:spChg chg="mod replST">
          <ac:chgData name="vonWaldow, Ulrich" userId="c64b3fe1-2fbf-4408-adc4-30add62e991f" providerId="ADAL" clId="{B99A90B8-7D29-4456-AFD4-0F3DBA13A596}" dt="2024-09-03T12:02:36.974" v="110348"/>
          <ac:spMkLst>
            <pc:docMk/>
            <pc:sldMk cId="3859139144" sldId="266"/>
            <ac:spMk id="119" creationId="{C798BE65-E2D6-92E7-77BF-A50488B94ACA}"/>
          </ac:spMkLst>
        </pc:spChg>
        <pc:spChg chg="mod replST">
          <ac:chgData name="vonWaldow, Ulrich" userId="c64b3fe1-2fbf-4408-adc4-30add62e991f" providerId="ADAL" clId="{B99A90B8-7D29-4456-AFD4-0F3DBA13A596}" dt="2024-09-03T12:02:36.973" v="110346"/>
          <ac:spMkLst>
            <pc:docMk/>
            <pc:sldMk cId="3859139144" sldId="266"/>
            <ac:spMk id="122" creationId="{E8CD8CAD-DE42-B162-F863-831486C7609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859139144" sldId="266"/>
            <ac:spMk id="124" creationId="{EA6691B8-ED18-AB69-7265-320F9A1F0648}"/>
          </ac:spMkLst>
        </pc:spChg>
        <pc:spChg chg="mod replST">
          <ac:chgData name="vonWaldow, Ulrich" userId="c64b3fe1-2fbf-4408-adc4-30add62e991f" providerId="ADAL" clId="{B99A90B8-7D29-4456-AFD4-0F3DBA13A596}" dt="2024-09-03T12:02:36.972" v="110344"/>
          <ac:spMkLst>
            <pc:docMk/>
            <pc:sldMk cId="3859139144" sldId="266"/>
            <ac:spMk id="125" creationId="{543733D6-BA74-1D87-F084-082C6D30E83F}"/>
          </ac:spMkLst>
        </pc:spChg>
        <pc:spChg chg="mod replST">
          <ac:chgData name="vonWaldow, Ulrich" userId="c64b3fe1-2fbf-4408-adc4-30add62e991f" providerId="ADAL" clId="{B99A90B8-7D29-4456-AFD4-0F3DBA13A596}" dt="2024-09-03T12:02:36.970" v="110342"/>
          <ac:spMkLst>
            <pc:docMk/>
            <pc:sldMk cId="3859139144" sldId="266"/>
            <ac:spMk id="129" creationId="{4BDEC020-B9EB-7F40-99C8-3BDF98ECFDDC}"/>
          </ac:spMkLst>
        </pc:spChg>
        <pc:spChg chg="mod replST">
          <ac:chgData name="vonWaldow, Ulrich" userId="c64b3fe1-2fbf-4408-adc4-30add62e991f" providerId="ADAL" clId="{B99A90B8-7D29-4456-AFD4-0F3DBA13A596}" dt="2024-09-03T12:29:11.015" v="112314"/>
          <ac:spMkLst>
            <pc:docMk/>
            <pc:sldMk cId="3859139144" sldId="266"/>
            <ac:spMk id="132" creationId="{51A10260-7D6B-64A6-B2A3-97BB11EC6155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267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267"/>
            <ac:spMk id="3" creationId="{00000000-0000-0000-0000-000000000000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18" v="112316"/>
        <pc:sldMkLst>
          <pc:docMk/>
          <pc:sldMk cId="1762189987" sldId="268"/>
        </pc:sldMkLst>
        <pc:spChg chg="mod replST">
          <ac:chgData name="vonWaldow, Ulrich" userId="c64b3fe1-2fbf-4408-adc4-30add62e991f" providerId="ADAL" clId="{B99A90B8-7D29-4456-AFD4-0F3DBA13A596}" dt="2024-08-26T13:54:28.545" v="34318"/>
          <ac:spMkLst>
            <pc:docMk/>
            <pc:sldMk cId="1762189987" sldId="268"/>
            <ac:spMk id="36" creationId="{1FA2FC74-3175-B993-439C-288855FFA1D8}"/>
          </ac:spMkLst>
        </pc:spChg>
        <pc:spChg chg="mod replST">
          <ac:chgData name="vonWaldow, Ulrich" userId="c64b3fe1-2fbf-4408-adc4-30add62e991f" providerId="ADAL" clId="{B99A90B8-7D29-4456-AFD4-0F3DBA13A596}" dt="2024-08-26T13:54:28.530" v="34316"/>
          <ac:spMkLst>
            <pc:docMk/>
            <pc:sldMk cId="1762189987" sldId="268"/>
            <ac:spMk id="40" creationId="{E2FA6379-E35E-90B2-DF7F-C33DD1A5BF91}"/>
          </ac:spMkLst>
        </pc:spChg>
        <pc:spChg chg="mod replST">
          <ac:chgData name="vonWaldow, Ulrich" userId="c64b3fe1-2fbf-4408-adc4-30add62e991f" providerId="ADAL" clId="{B99A90B8-7D29-4456-AFD4-0F3DBA13A596}" dt="2024-09-03T10:03:59.907" v="110225"/>
          <ac:spMkLst>
            <pc:docMk/>
            <pc:sldMk cId="1762189987" sldId="268"/>
            <ac:spMk id="197" creationId="{567B247E-187B-4ACC-80FC-5E1E646580C7}"/>
          </ac:spMkLst>
        </pc:spChg>
        <pc:spChg chg="mod replST">
          <ac:chgData name="vonWaldow, Ulrich" userId="c64b3fe1-2fbf-4408-adc4-30add62e991f" providerId="ADAL" clId="{B99A90B8-7D29-4456-AFD4-0F3DBA13A596}" dt="2024-09-03T12:02:36.979" v="110358"/>
          <ac:spMkLst>
            <pc:docMk/>
            <pc:sldMk cId="1762189987" sldId="268"/>
            <ac:spMk id="200" creationId="{94217F9D-C592-660D-6445-F982D72D5CDF}"/>
          </ac:spMkLst>
        </pc:spChg>
        <pc:spChg chg="mod replST">
          <ac:chgData name="vonWaldow, Ulrich" userId="c64b3fe1-2fbf-4408-adc4-30add62e991f" providerId="ADAL" clId="{B99A90B8-7D29-4456-AFD4-0F3DBA13A596}" dt="2024-09-03T12:02:36.979" v="110356"/>
          <ac:spMkLst>
            <pc:docMk/>
            <pc:sldMk cId="1762189987" sldId="268"/>
            <ac:spMk id="203" creationId="{1A62DB6D-03E9-E8E4-00C5-04132DBF0F2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762189987" sldId="268"/>
            <ac:spMk id="205" creationId="{C9E19B6A-F95C-59CE-4ABE-377E6CA00886}"/>
          </ac:spMkLst>
        </pc:spChg>
        <pc:spChg chg="mod replST">
          <ac:chgData name="vonWaldow, Ulrich" userId="c64b3fe1-2fbf-4408-adc4-30add62e991f" providerId="ADAL" clId="{B99A90B8-7D29-4456-AFD4-0F3DBA13A596}" dt="2024-09-03T12:02:36.978" v="110354"/>
          <ac:spMkLst>
            <pc:docMk/>
            <pc:sldMk cId="1762189987" sldId="268"/>
            <ac:spMk id="206" creationId="{6C6A5F44-E067-EA46-4C3B-6DEA05241FBC}"/>
          </ac:spMkLst>
        </pc:spChg>
        <pc:spChg chg="mod replST">
          <ac:chgData name="vonWaldow, Ulrich" userId="c64b3fe1-2fbf-4408-adc4-30add62e991f" providerId="ADAL" clId="{B99A90B8-7D29-4456-AFD4-0F3DBA13A596}" dt="2024-09-03T12:02:36.977" v="110352"/>
          <ac:spMkLst>
            <pc:docMk/>
            <pc:sldMk cId="1762189987" sldId="268"/>
            <ac:spMk id="209" creationId="{19EB9353-2AC1-18B1-2E67-EB462E65C9EB}"/>
          </ac:spMkLst>
        </pc:spChg>
        <pc:spChg chg="mod replST">
          <ac:chgData name="vonWaldow, Ulrich" userId="c64b3fe1-2fbf-4408-adc4-30add62e991f" providerId="ADAL" clId="{B99A90B8-7D29-4456-AFD4-0F3DBA13A596}" dt="2024-09-03T12:29:11.018" v="112316"/>
          <ac:spMkLst>
            <pc:docMk/>
            <pc:sldMk cId="1762189987" sldId="268"/>
            <ac:spMk id="213" creationId="{7173966A-CA44-9A0B-5B04-6327807D08F1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20" v="112318"/>
        <pc:sldMkLst>
          <pc:docMk/>
          <pc:sldMk cId="837155156" sldId="269"/>
        </pc:sldMkLst>
        <pc:spChg chg="mod replST">
          <ac:chgData name="vonWaldow, Ulrich" userId="c64b3fe1-2fbf-4408-adc4-30add62e991f" providerId="ADAL" clId="{B99A90B8-7D29-4456-AFD4-0F3DBA13A596}" dt="2024-08-26T13:54:28.550" v="34322"/>
          <ac:spMkLst>
            <pc:docMk/>
            <pc:sldMk cId="837155156" sldId="269"/>
            <ac:spMk id="36" creationId="{1B2E1451-81D9-9659-EA97-951CEDC530D8}"/>
          </ac:spMkLst>
        </pc:spChg>
        <pc:spChg chg="mod replST">
          <ac:chgData name="vonWaldow, Ulrich" userId="c64b3fe1-2fbf-4408-adc4-30add62e991f" providerId="ADAL" clId="{B99A90B8-7D29-4456-AFD4-0F3DBA13A596}" dt="2024-08-26T13:54:28.548" v="34320"/>
          <ac:spMkLst>
            <pc:docMk/>
            <pc:sldMk cId="837155156" sldId="269"/>
            <ac:spMk id="39" creationId="{8220BC3C-0F0B-B5D6-A91A-82BECFFC8AFA}"/>
          </ac:spMkLst>
        </pc:spChg>
        <pc:spChg chg="mod replST">
          <ac:chgData name="vonWaldow, Ulrich" userId="c64b3fe1-2fbf-4408-adc4-30add62e991f" providerId="ADAL" clId="{B99A90B8-7D29-4456-AFD4-0F3DBA13A596}" dt="2024-09-03T10:03:59.924" v="110237"/>
          <ac:spMkLst>
            <pc:docMk/>
            <pc:sldMk cId="837155156" sldId="269"/>
            <ac:spMk id="116" creationId="{16013E71-1D2C-D94C-A722-5D2B6F37F612}"/>
          </ac:spMkLst>
        </pc:spChg>
        <pc:spChg chg="mod replST">
          <ac:chgData name="vonWaldow, Ulrich" userId="c64b3fe1-2fbf-4408-adc4-30add62e991f" providerId="ADAL" clId="{B99A90B8-7D29-4456-AFD4-0F3DBA13A596}" dt="2024-09-03T12:02:36.985" v="110368"/>
          <ac:spMkLst>
            <pc:docMk/>
            <pc:sldMk cId="837155156" sldId="269"/>
            <ac:spMk id="119" creationId="{46A4290E-C402-A96A-2B28-9FB89F747C3E}"/>
          </ac:spMkLst>
        </pc:spChg>
        <pc:spChg chg="mod replST">
          <ac:chgData name="vonWaldow, Ulrich" userId="c64b3fe1-2fbf-4408-adc4-30add62e991f" providerId="ADAL" clId="{B99A90B8-7D29-4456-AFD4-0F3DBA13A596}" dt="2024-09-03T12:02:36.984" v="110366"/>
          <ac:spMkLst>
            <pc:docMk/>
            <pc:sldMk cId="837155156" sldId="269"/>
            <ac:spMk id="122" creationId="{4BA45843-BE5A-A274-D4BD-8F7E99815DD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37155156" sldId="269"/>
            <ac:spMk id="124" creationId="{68807524-A70D-9E3D-1BA1-6A5418416764}"/>
          </ac:spMkLst>
        </pc:spChg>
        <pc:spChg chg="mod replST">
          <ac:chgData name="vonWaldow, Ulrich" userId="c64b3fe1-2fbf-4408-adc4-30add62e991f" providerId="ADAL" clId="{B99A90B8-7D29-4456-AFD4-0F3DBA13A596}" dt="2024-09-03T12:02:36.983" v="110364"/>
          <ac:spMkLst>
            <pc:docMk/>
            <pc:sldMk cId="837155156" sldId="269"/>
            <ac:spMk id="125" creationId="{6FF3B6A0-C67E-9DA7-D348-1511315AD9EF}"/>
          </ac:spMkLst>
        </pc:spChg>
        <pc:spChg chg="mod replST">
          <ac:chgData name="vonWaldow, Ulrich" userId="c64b3fe1-2fbf-4408-adc4-30add62e991f" providerId="ADAL" clId="{B99A90B8-7D29-4456-AFD4-0F3DBA13A596}" dt="2024-09-03T12:02:36.982" v="110362"/>
          <ac:spMkLst>
            <pc:docMk/>
            <pc:sldMk cId="837155156" sldId="269"/>
            <ac:spMk id="128" creationId="{07F5373E-5EEC-CCFA-C7BE-C7C5AE199497}"/>
          </ac:spMkLst>
        </pc:spChg>
        <pc:spChg chg="mod replST">
          <ac:chgData name="vonWaldow, Ulrich" userId="c64b3fe1-2fbf-4408-adc4-30add62e991f" providerId="ADAL" clId="{B99A90B8-7D29-4456-AFD4-0F3DBA13A596}" dt="2024-09-03T12:29:11.020" v="112318"/>
          <ac:spMkLst>
            <pc:docMk/>
            <pc:sldMk cId="837155156" sldId="269"/>
            <ac:spMk id="131" creationId="{6A0221BB-E301-C999-15A6-6A68D7C1B349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27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272"/>
            <ac:spMk id="3" creationId="{00000000-0000-0000-0000-000000000000}"/>
          </ac:spMkLst>
        </pc:spChg>
      </pc:sldChg>
      <pc:sldChg chg="addSp delSp modSp mod chgLayout">
        <pc:chgData name="vonWaldow, Ulrich" userId="c64b3fe1-2fbf-4408-adc4-30add62e991f" providerId="ADAL" clId="{B99A90B8-7D29-4456-AFD4-0F3DBA13A596}" dt="2024-08-27T12:42:29.390" v="93662"/>
        <pc:sldMkLst>
          <pc:docMk/>
          <pc:sldMk cId="0" sldId="274"/>
        </pc:sldMkLst>
        <pc:spChg chg="mod ord">
          <ac:chgData name="vonWaldow, Ulrich" userId="c64b3fe1-2fbf-4408-adc4-30add62e991f" providerId="ADAL" clId="{B99A90B8-7D29-4456-AFD4-0F3DBA13A596}" dt="2024-08-27T12:42:29.359" v="93622"/>
          <ac:spMkLst>
            <pc:docMk/>
            <pc:sldMk cId="0" sldId="274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4"/>
          <ac:spMkLst>
            <pc:docMk/>
            <pc:sldMk cId="0" sldId="274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6"/>
          <ac:spMkLst>
            <pc:docMk/>
            <pc:sldMk cId="0" sldId="274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8"/>
          <ac:spMkLst>
            <pc:docMk/>
            <pc:sldMk cId="0" sldId="274"/>
            <ac:spMk id="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09:48.391" v="57045" actId="478"/>
          <ac:spMkLst>
            <pc:docMk/>
            <pc:sldMk cId="0" sldId="274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2"/>
          <ac:spMkLst>
            <pc:docMk/>
            <pc:sldMk cId="0" sldId="274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4"/>
          <ac:spMkLst>
            <pc:docMk/>
            <pc:sldMk cId="0" sldId="274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6"/>
          <ac:spMkLst>
            <pc:docMk/>
            <pc:sldMk cId="0" sldId="274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8"/>
          <ac:spMkLst>
            <pc:docMk/>
            <pc:sldMk cId="0" sldId="274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0"/>
          <ac:spMkLst>
            <pc:docMk/>
            <pc:sldMk cId="0" sldId="274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2"/>
          <ac:spMkLst>
            <pc:docMk/>
            <pc:sldMk cId="0" sldId="274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4"/>
          <ac:spMkLst>
            <pc:docMk/>
            <pc:sldMk cId="0" sldId="274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6"/>
          <ac:spMkLst>
            <pc:docMk/>
            <pc:sldMk cId="0" sldId="274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48"/>
          <ac:spMkLst>
            <pc:docMk/>
            <pc:sldMk cId="0" sldId="274"/>
            <ac:spMk id="15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50"/>
          <ac:spMkLst>
            <pc:docMk/>
            <pc:sldMk cId="0" sldId="274"/>
            <ac:spMk id="1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52"/>
          <ac:spMkLst>
            <pc:docMk/>
            <pc:sldMk cId="0" sldId="274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1:47:24.987" v="35299"/>
          <ac:spMkLst>
            <pc:docMk/>
            <pc:sldMk cId="0" sldId="274"/>
            <ac:spMk id="18" creationId="{09CB802D-038D-3097-7C92-C6933650DF4B}"/>
          </ac:spMkLst>
        </pc:spChg>
        <pc:spChg chg="add del mod modVis">
          <ac:chgData name="vonWaldow, Ulrich" userId="c64b3fe1-2fbf-4408-adc4-30add62e991f" providerId="ADAL" clId="{B99A90B8-7D29-4456-AFD4-0F3DBA13A596}" dt="2024-08-27T11:47:32.789" v="35337"/>
          <ac:spMkLst>
            <pc:docMk/>
            <pc:sldMk cId="0" sldId="274"/>
            <ac:spMk id="20" creationId="{6BD55691-C858-0FEF-D42B-E5614EA8A26E}"/>
          </ac:spMkLst>
        </pc:spChg>
        <pc:spChg chg="add del mod modVis">
          <ac:chgData name="vonWaldow, Ulrich" userId="c64b3fe1-2fbf-4408-adc4-30add62e991f" providerId="ADAL" clId="{B99A90B8-7D29-4456-AFD4-0F3DBA13A596}" dt="2024-08-27T11:47:44.175" v="35362"/>
          <ac:spMkLst>
            <pc:docMk/>
            <pc:sldMk cId="0" sldId="274"/>
            <ac:spMk id="21" creationId="{EC3C63DF-9086-4C09-8044-2FF285CB548D}"/>
          </ac:spMkLst>
        </pc:spChg>
        <pc:spChg chg="add del mod modVis">
          <ac:chgData name="vonWaldow, Ulrich" userId="c64b3fe1-2fbf-4408-adc4-30add62e991f" providerId="ADAL" clId="{B99A90B8-7D29-4456-AFD4-0F3DBA13A596}" dt="2024-08-27T11:47:45.322" v="35389"/>
          <ac:spMkLst>
            <pc:docMk/>
            <pc:sldMk cId="0" sldId="274"/>
            <ac:spMk id="22" creationId="{3624439E-1B00-EC66-91EC-94C47715AAA2}"/>
          </ac:spMkLst>
        </pc:spChg>
        <pc:spChg chg="add del mod modVis">
          <ac:chgData name="vonWaldow, Ulrich" userId="c64b3fe1-2fbf-4408-adc4-30add62e991f" providerId="ADAL" clId="{B99A90B8-7D29-4456-AFD4-0F3DBA13A596}" dt="2024-08-27T11:55:26.700" v="36076"/>
          <ac:spMkLst>
            <pc:docMk/>
            <pc:sldMk cId="0" sldId="274"/>
            <ac:spMk id="25" creationId="{D18EFE59-8148-88D3-3835-5C7BB0E52CB5}"/>
          </ac:spMkLst>
        </pc:spChg>
        <pc:spChg chg="add del mod replST">
          <ac:chgData name="vonWaldow, Ulrich" userId="c64b3fe1-2fbf-4408-adc4-30add62e991f" providerId="ADAL" clId="{B99A90B8-7D29-4456-AFD4-0F3DBA13A596}" dt="2024-08-27T12:07:29.769" v="53782"/>
          <ac:spMkLst>
            <pc:docMk/>
            <pc:sldMk cId="0" sldId="274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7:29.769" v="53781"/>
          <ac:spMkLst>
            <pc:docMk/>
            <pc:sldMk cId="0" sldId="274"/>
            <ac:spMk id="2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38"/>
          <ac:spMkLst>
            <pc:docMk/>
            <pc:sldMk cId="0" sldId="274"/>
            <ac:spMk id="28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2"/>
          <ac:spMkLst>
            <pc:docMk/>
            <pc:sldMk cId="0" sldId="274"/>
            <ac:spMk id="2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4"/>
          <ac:spMkLst>
            <pc:docMk/>
            <pc:sldMk cId="0" sldId="274"/>
            <ac:spMk id="30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5"/>
          <ac:spMkLst>
            <pc:docMk/>
            <pc:sldMk cId="0" sldId="274"/>
            <ac:spMk id="31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6"/>
          <ac:spMkLst>
            <pc:docMk/>
            <pc:sldMk cId="0" sldId="274"/>
            <ac:spMk id="3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1:56:23.437" v="38739"/>
          <ac:spMkLst>
            <pc:docMk/>
            <pc:sldMk cId="0" sldId="274"/>
            <ac:spMk id="3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1:55:27.279" v="36218"/>
          <ac:spMkLst>
            <pc:docMk/>
            <pc:sldMk cId="0" sldId="274"/>
            <ac:spMk id="35" creationId="{443573EC-FA64-158D-EDB5-3F787299C0A8}"/>
          </ac:spMkLst>
        </pc:spChg>
        <pc:spChg chg="add del mod modVis">
          <ac:chgData name="vonWaldow, Ulrich" userId="c64b3fe1-2fbf-4408-adc4-30add62e991f" providerId="ADAL" clId="{B99A90B8-7D29-4456-AFD4-0F3DBA13A596}" dt="2024-08-27T11:55:40.612" v="36391"/>
          <ac:spMkLst>
            <pc:docMk/>
            <pc:sldMk cId="0" sldId="274"/>
            <ac:spMk id="37" creationId="{89B46060-4C8B-692C-6C16-6AA64E79081C}"/>
          </ac:spMkLst>
        </pc:spChg>
        <pc:spChg chg="add del mod modVis">
          <ac:chgData name="vonWaldow, Ulrich" userId="c64b3fe1-2fbf-4408-adc4-30add62e991f" providerId="ADAL" clId="{B99A90B8-7D29-4456-AFD4-0F3DBA13A596}" dt="2024-08-27T11:55:40.770" v="36525"/>
          <ac:spMkLst>
            <pc:docMk/>
            <pc:sldMk cId="0" sldId="274"/>
            <ac:spMk id="42" creationId="{B1C215F7-E84E-7EBD-1C91-F39970F0C5D8}"/>
          </ac:spMkLst>
        </pc:spChg>
        <pc:spChg chg="add del mod modVis">
          <ac:chgData name="vonWaldow, Ulrich" userId="c64b3fe1-2fbf-4408-adc4-30add62e991f" providerId="ADAL" clId="{B99A90B8-7D29-4456-AFD4-0F3DBA13A596}" dt="2024-08-27T11:55:43.182" v="36660"/>
          <ac:spMkLst>
            <pc:docMk/>
            <pc:sldMk cId="0" sldId="274"/>
            <ac:spMk id="44" creationId="{7B990D37-34FC-9BF2-ABAE-1299075994D9}"/>
          </ac:spMkLst>
        </pc:spChg>
        <pc:spChg chg="add del mod modVis">
          <ac:chgData name="vonWaldow, Ulrich" userId="c64b3fe1-2fbf-4408-adc4-30add62e991f" providerId="ADAL" clId="{B99A90B8-7D29-4456-AFD4-0F3DBA13A596}" dt="2024-08-27T11:55:43.513" v="36822"/>
          <ac:spMkLst>
            <pc:docMk/>
            <pc:sldMk cId="0" sldId="274"/>
            <ac:spMk id="46" creationId="{848A773D-8E73-FE4D-36D6-71360778CA60}"/>
          </ac:spMkLst>
        </pc:spChg>
        <pc:spChg chg="add del mod modVis">
          <ac:chgData name="vonWaldow, Ulrich" userId="c64b3fe1-2fbf-4408-adc4-30add62e991f" providerId="ADAL" clId="{B99A90B8-7D29-4456-AFD4-0F3DBA13A596}" dt="2024-08-27T11:55:44.071" v="36932"/>
          <ac:spMkLst>
            <pc:docMk/>
            <pc:sldMk cId="0" sldId="274"/>
            <ac:spMk id="49" creationId="{4EE12AD3-EFA1-2A0D-D600-A0F642AF452C}"/>
          </ac:spMkLst>
        </pc:spChg>
        <pc:spChg chg="add del mod modVis">
          <ac:chgData name="vonWaldow, Ulrich" userId="c64b3fe1-2fbf-4408-adc4-30add62e991f" providerId="ADAL" clId="{B99A90B8-7D29-4456-AFD4-0F3DBA13A596}" dt="2024-08-27T11:55:44.437" v="37052"/>
          <ac:spMkLst>
            <pc:docMk/>
            <pc:sldMk cId="0" sldId="274"/>
            <ac:spMk id="51" creationId="{BD509F62-C15A-33DA-7915-D4D666D22D8C}"/>
          </ac:spMkLst>
        </pc:spChg>
        <pc:spChg chg="add del mod modVis">
          <ac:chgData name="vonWaldow, Ulrich" userId="c64b3fe1-2fbf-4408-adc4-30add62e991f" providerId="ADAL" clId="{B99A90B8-7D29-4456-AFD4-0F3DBA13A596}" dt="2024-08-27T11:55:45.295" v="37251"/>
          <ac:spMkLst>
            <pc:docMk/>
            <pc:sldMk cId="0" sldId="274"/>
            <ac:spMk id="53" creationId="{06BF8253-C88F-286B-E28F-0908B033D959}"/>
          </ac:spMkLst>
        </pc:spChg>
        <pc:spChg chg="add del mod modVis">
          <ac:chgData name="vonWaldow, Ulrich" userId="c64b3fe1-2fbf-4408-adc4-30add62e991f" providerId="ADAL" clId="{B99A90B8-7D29-4456-AFD4-0F3DBA13A596}" dt="2024-08-27T11:55:45.579" v="37381"/>
          <ac:spMkLst>
            <pc:docMk/>
            <pc:sldMk cId="0" sldId="274"/>
            <ac:spMk id="60" creationId="{07E13A89-1E9A-50C2-10A3-B5BB20B2CC03}"/>
          </ac:spMkLst>
        </pc:spChg>
        <pc:spChg chg="add del mod modVis">
          <ac:chgData name="vonWaldow, Ulrich" userId="c64b3fe1-2fbf-4408-adc4-30add62e991f" providerId="ADAL" clId="{B99A90B8-7D29-4456-AFD4-0F3DBA13A596}" dt="2024-08-27T11:55:46.060" v="37555"/>
          <ac:spMkLst>
            <pc:docMk/>
            <pc:sldMk cId="0" sldId="274"/>
            <ac:spMk id="62" creationId="{7B0540C5-B977-FBEB-CBA0-D4F824162772}"/>
          </ac:spMkLst>
        </pc:spChg>
        <pc:spChg chg="add del mod modVis">
          <ac:chgData name="vonWaldow, Ulrich" userId="c64b3fe1-2fbf-4408-adc4-30add62e991f" providerId="ADAL" clId="{B99A90B8-7D29-4456-AFD4-0F3DBA13A596}" dt="2024-08-27T11:55:46.278" v="37675"/>
          <ac:spMkLst>
            <pc:docMk/>
            <pc:sldMk cId="0" sldId="274"/>
            <ac:spMk id="68" creationId="{6D7746A2-EF28-35E6-5CA7-68EE48DCA0E2}"/>
          </ac:spMkLst>
        </pc:spChg>
        <pc:spChg chg="add del mod modVis">
          <ac:chgData name="vonWaldow, Ulrich" userId="c64b3fe1-2fbf-4408-adc4-30add62e991f" providerId="ADAL" clId="{B99A90B8-7D29-4456-AFD4-0F3DBA13A596}" dt="2024-08-27T11:56:01.967" v="37814"/>
          <ac:spMkLst>
            <pc:docMk/>
            <pc:sldMk cId="0" sldId="274"/>
            <ac:spMk id="70" creationId="{B235A877-609D-68B7-D0BA-B842E4F9FFFA}"/>
          </ac:spMkLst>
        </pc:spChg>
        <pc:spChg chg="add del mod modVis">
          <ac:chgData name="vonWaldow, Ulrich" userId="c64b3fe1-2fbf-4408-adc4-30add62e991f" providerId="ADAL" clId="{B99A90B8-7D29-4456-AFD4-0F3DBA13A596}" dt="2024-08-27T11:56:02.140" v="37988"/>
          <ac:spMkLst>
            <pc:docMk/>
            <pc:sldMk cId="0" sldId="274"/>
            <ac:spMk id="72" creationId="{125457ED-E799-B640-D48D-2A1B8E191F34}"/>
          </ac:spMkLst>
        </pc:spChg>
        <pc:spChg chg="add del mod modVis">
          <ac:chgData name="vonWaldow, Ulrich" userId="c64b3fe1-2fbf-4408-adc4-30add62e991f" providerId="ADAL" clId="{B99A90B8-7D29-4456-AFD4-0F3DBA13A596}" dt="2024-08-27T11:56:15.600" v="38102"/>
          <ac:spMkLst>
            <pc:docMk/>
            <pc:sldMk cId="0" sldId="274"/>
            <ac:spMk id="76" creationId="{5BA5DE7F-B289-7B9E-00CE-01535D4A49A6}"/>
          </ac:spMkLst>
        </pc:spChg>
        <pc:spChg chg="add del mod modVis">
          <ac:chgData name="vonWaldow, Ulrich" userId="c64b3fe1-2fbf-4408-adc4-30add62e991f" providerId="ADAL" clId="{B99A90B8-7D29-4456-AFD4-0F3DBA13A596}" dt="2024-08-27T11:56:15.784" v="38234"/>
          <ac:spMkLst>
            <pc:docMk/>
            <pc:sldMk cId="0" sldId="274"/>
            <ac:spMk id="78" creationId="{94CA293A-7E06-F7DB-51B2-C03A88527AD7}"/>
          </ac:spMkLst>
        </pc:spChg>
        <pc:spChg chg="add del mod modVis">
          <ac:chgData name="vonWaldow, Ulrich" userId="c64b3fe1-2fbf-4408-adc4-30add62e991f" providerId="ADAL" clId="{B99A90B8-7D29-4456-AFD4-0F3DBA13A596}" dt="2024-08-27T11:56:17.287" v="38344"/>
          <ac:spMkLst>
            <pc:docMk/>
            <pc:sldMk cId="0" sldId="274"/>
            <ac:spMk id="80" creationId="{BFB14251-1F37-CD81-D177-717625EA31C9}"/>
          </ac:spMkLst>
        </pc:spChg>
        <pc:spChg chg="add del mod modVis">
          <ac:chgData name="vonWaldow, Ulrich" userId="c64b3fe1-2fbf-4408-adc4-30add62e991f" providerId="ADAL" clId="{B99A90B8-7D29-4456-AFD4-0F3DBA13A596}" dt="2024-08-27T11:56:17.444" v="38481"/>
          <ac:spMkLst>
            <pc:docMk/>
            <pc:sldMk cId="0" sldId="274"/>
            <ac:spMk id="82" creationId="{C5247D52-20ED-5871-707A-31B3B2ACAC88}"/>
          </ac:spMkLst>
        </pc:spChg>
        <pc:spChg chg="add del mod modVis">
          <ac:chgData name="vonWaldow, Ulrich" userId="c64b3fe1-2fbf-4408-adc4-30add62e991f" providerId="ADAL" clId="{B99A90B8-7D29-4456-AFD4-0F3DBA13A596}" dt="2024-08-27T11:56:21.259" v="38591"/>
          <ac:spMkLst>
            <pc:docMk/>
            <pc:sldMk cId="0" sldId="274"/>
            <ac:spMk id="85" creationId="{EF74646D-103F-0548-4EC6-F29ACB86F192}"/>
          </ac:spMkLst>
        </pc:spChg>
        <pc:spChg chg="add del mod modVis">
          <ac:chgData name="vonWaldow, Ulrich" userId="c64b3fe1-2fbf-4408-adc4-30add62e991f" providerId="ADAL" clId="{B99A90B8-7D29-4456-AFD4-0F3DBA13A596}" dt="2024-08-27T11:56:21.448" v="38736"/>
          <ac:spMkLst>
            <pc:docMk/>
            <pc:sldMk cId="0" sldId="274"/>
            <ac:spMk id="87" creationId="{1C420C5D-E2E3-96E7-95A6-0F5FEA2EED60}"/>
          </ac:spMkLst>
        </pc:spChg>
        <pc:spChg chg="add del mod modVis">
          <ac:chgData name="vonWaldow, Ulrich" userId="c64b3fe1-2fbf-4408-adc4-30add62e991f" providerId="ADAL" clId="{B99A90B8-7D29-4456-AFD4-0F3DBA13A596}" dt="2024-08-27T11:56:23.561" v="38837"/>
          <ac:spMkLst>
            <pc:docMk/>
            <pc:sldMk cId="0" sldId="274"/>
            <ac:spMk id="90" creationId="{9152D3F6-E2CD-A450-39DD-9AD3C03C473B}"/>
          </ac:spMkLst>
        </pc:spChg>
        <pc:spChg chg="add del mod modVis">
          <ac:chgData name="vonWaldow, Ulrich" userId="c64b3fe1-2fbf-4408-adc4-30add62e991f" providerId="ADAL" clId="{B99A90B8-7D29-4456-AFD4-0F3DBA13A596}" dt="2024-08-27T11:56:23.725" v="38937"/>
          <ac:spMkLst>
            <pc:docMk/>
            <pc:sldMk cId="0" sldId="274"/>
            <ac:spMk id="92" creationId="{CD397C3C-3979-67AD-B274-ED3CC39D61D5}"/>
          </ac:spMkLst>
        </pc:spChg>
        <pc:spChg chg="add del mod modVis">
          <ac:chgData name="vonWaldow, Ulrich" userId="c64b3fe1-2fbf-4408-adc4-30add62e991f" providerId="ADAL" clId="{B99A90B8-7D29-4456-AFD4-0F3DBA13A596}" dt="2024-08-27T11:56:24.181" v="39037"/>
          <ac:spMkLst>
            <pc:docMk/>
            <pc:sldMk cId="0" sldId="274"/>
            <ac:spMk id="94" creationId="{E0EF9FA4-182B-B890-04E4-68E9D7B37D87}"/>
          </ac:spMkLst>
        </pc:spChg>
        <pc:spChg chg="add del mod modVis">
          <ac:chgData name="vonWaldow, Ulrich" userId="c64b3fe1-2fbf-4408-adc4-30add62e991f" providerId="ADAL" clId="{B99A90B8-7D29-4456-AFD4-0F3DBA13A596}" dt="2024-08-27T11:56:24.338" v="39137"/>
          <ac:spMkLst>
            <pc:docMk/>
            <pc:sldMk cId="0" sldId="274"/>
            <ac:spMk id="96" creationId="{4E865FCB-D9BC-AE4D-61F0-046E5B48878C}"/>
          </ac:spMkLst>
        </pc:spChg>
        <pc:spChg chg="add del mod modVis">
          <ac:chgData name="vonWaldow, Ulrich" userId="c64b3fe1-2fbf-4408-adc4-30add62e991f" providerId="ADAL" clId="{B99A90B8-7D29-4456-AFD4-0F3DBA13A596}" dt="2024-08-27T11:56:24.852" v="39237"/>
          <ac:spMkLst>
            <pc:docMk/>
            <pc:sldMk cId="0" sldId="274"/>
            <ac:spMk id="98" creationId="{B5194093-C532-F17B-A653-5C672FF4AED7}"/>
          </ac:spMkLst>
        </pc:spChg>
        <pc:spChg chg="add del mod modVis">
          <ac:chgData name="vonWaldow, Ulrich" userId="c64b3fe1-2fbf-4408-adc4-30add62e991f" providerId="ADAL" clId="{B99A90B8-7D29-4456-AFD4-0F3DBA13A596}" dt="2024-08-27T11:56:24.993" v="39337"/>
          <ac:spMkLst>
            <pc:docMk/>
            <pc:sldMk cId="0" sldId="274"/>
            <ac:spMk id="100" creationId="{88F04250-34DE-CFB7-BAAC-67B3D0A13353}"/>
          </ac:spMkLst>
        </pc:spChg>
        <pc:spChg chg="add del mod modVis">
          <ac:chgData name="vonWaldow, Ulrich" userId="c64b3fe1-2fbf-4408-adc4-30add62e991f" providerId="ADAL" clId="{B99A90B8-7D29-4456-AFD4-0F3DBA13A596}" dt="2024-08-27T11:56:38.127" v="39437"/>
          <ac:spMkLst>
            <pc:docMk/>
            <pc:sldMk cId="0" sldId="274"/>
            <ac:spMk id="102" creationId="{2C45A77E-1FB9-98F4-94A3-9399E31C179D}"/>
          </ac:spMkLst>
        </pc:spChg>
        <pc:spChg chg="add del mod modVis">
          <ac:chgData name="vonWaldow, Ulrich" userId="c64b3fe1-2fbf-4408-adc4-30add62e991f" providerId="ADAL" clId="{B99A90B8-7D29-4456-AFD4-0F3DBA13A596}" dt="2024-08-27T11:56:38.229" v="39537"/>
          <ac:spMkLst>
            <pc:docMk/>
            <pc:sldMk cId="0" sldId="274"/>
            <ac:spMk id="104" creationId="{EC84B4E1-DDC3-B2B2-056B-0B50C0DC60C6}"/>
          </ac:spMkLst>
        </pc:spChg>
        <pc:spChg chg="add del mod modVis">
          <ac:chgData name="vonWaldow, Ulrich" userId="c64b3fe1-2fbf-4408-adc4-30add62e991f" providerId="ADAL" clId="{B99A90B8-7D29-4456-AFD4-0F3DBA13A596}" dt="2024-08-27T11:56:39.764" v="39637"/>
          <ac:spMkLst>
            <pc:docMk/>
            <pc:sldMk cId="0" sldId="274"/>
            <ac:spMk id="106" creationId="{7ABF93FA-1A3A-8689-A59F-B0210BC10E2A}"/>
          </ac:spMkLst>
        </pc:spChg>
        <pc:spChg chg="add del mod modVis">
          <ac:chgData name="vonWaldow, Ulrich" userId="c64b3fe1-2fbf-4408-adc4-30add62e991f" providerId="ADAL" clId="{B99A90B8-7D29-4456-AFD4-0F3DBA13A596}" dt="2024-08-27T11:56:39.874" v="39737"/>
          <ac:spMkLst>
            <pc:docMk/>
            <pc:sldMk cId="0" sldId="274"/>
            <ac:spMk id="108" creationId="{17C56693-46A2-E9EA-B2FF-8FDC344B11B6}"/>
          </ac:spMkLst>
        </pc:spChg>
        <pc:spChg chg="add del mod modVis">
          <ac:chgData name="vonWaldow, Ulrich" userId="c64b3fe1-2fbf-4408-adc4-30add62e991f" providerId="ADAL" clId="{B99A90B8-7D29-4456-AFD4-0F3DBA13A596}" dt="2024-08-27T11:56:43.908" v="39837"/>
          <ac:spMkLst>
            <pc:docMk/>
            <pc:sldMk cId="0" sldId="274"/>
            <ac:spMk id="110" creationId="{892DA41F-6D13-C4EA-97E7-6ADCF3E7C8CD}"/>
          </ac:spMkLst>
        </pc:spChg>
        <pc:spChg chg="add del mod modVis">
          <ac:chgData name="vonWaldow, Ulrich" userId="c64b3fe1-2fbf-4408-adc4-30add62e991f" providerId="ADAL" clId="{B99A90B8-7D29-4456-AFD4-0F3DBA13A596}" dt="2024-08-27T11:56:44.017" v="39937"/>
          <ac:spMkLst>
            <pc:docMk/>
            <pc:sldMk cId="0" sldId="274"/>
            <ac:spMk id="112" creationId="{D061EF5D-5E88-E7EF-EB41-A588145DD4AE}"/>
          </ac:spMkLst>
        </pc:spChg>
        <pc:spChg chg="add del mod modVis">
          <ac:chgData name="vonWaldow, Ulrich" userId="c64b3fe1-2fbf-4408-adc4-30add62e991f" providerId="ADAL" clId="{B99A90B8-7D29-4456-AFD4-0F3DBA13A596}" dt="2024-08-27T11:56:48.433" v="40037"/>
          <ac:spMkLst>
            <pc:docMk/>
            <pc:sldMk cId="0" sldId="274"/>
            <ac:spMk id="114" creationId="{BA32B00B-BE2A-653D-880D-91F2CA0FB49E}"/>
          </ac:spMkLst>
        </pc:spChg>
        <pc:spChg chg="add del mod modVis">
          <ac:chgData name="vonWaldow, Ulrich" userId="c64b3fe1-2fbf-4408-adc4-30add62e991f" providerId="ADAL" clId="{B99A90B8-7D29-4456-AFD4-0F3DBA13A596}" dt="2024-08-27T11:56:48.722" v="40137"/>
          <ac:spMkLst>
            <pc:docMk/>
            <pc:sldMk cId="0" sldId="274"/>
            <ac:spMk id="116" creationId="{DD8129AB-2E6D-7680-DECD-E160BB4CAF89}"/>
          </ac:spMkLst>
        </pc:spChg>
        <pc:spChg chg="add del mod modVis">
          <ac:chgData name="vonWaldow, Ulrich" userId="c64b3fe1-2fbf-4408-adc4-30add62e991f" providerId="ADAL" clId="{B99A90B8-7D29-4456-AFD4-0F3DBA13A596}" dt="2024-08-27T11:56:50.899" v="40237"/>
          <ac:spMkLst>
            <pc:docMk/>
            <pc:sldMk cId="0" sldId="274"/>
            <ac:spMk id="118" creationId="{71DE3BFC-0D7E-B20B-6641-D4F5B7384EE4}"/>
          </ac:spMkLst>
        </pc:spChg>
        <pc:spChg chg="add del mod modVis">
          <ac:chgData name="vonWaldow, Ulrich" userId="c64b3fe1-2fbf-4408-adc4-30add62e991f" providerId="ADAL" clId="{B99A90B8-7D29-4456-AFD4-0F3DBA13A596}" dt="2024-08-27T11:56:51.083" v="40337"/>
          <ac:spMkLst>
            <pc:docMk/>
            <pc:sldMk cId="0" sldId="274"/>
            <ac:spMk id="120" creationId="{25CF66B2-3C4A-6244-0E1F-24A99C7C419E}"/>
          </ac:spMkLst>
        </pc:spChg>
        <pc:spChg chg="add del mod modVis">
          <ac:chgData name="vonWaldow, Ulrich" userId="c64b3fe1-2fbf-4408-adc4-30add62e991f" providerId="ADAL" clId="{B99A90B8-7D29-4456-AFD4-0F3DBA13A596}" dt="2024-08-27T11:56:53.467" v="40437"/>
          <ac:spMkLst>
            <pc:docMk/>
            <pc:sldMk cId="0" sldId="274"/>
            <ac:spMk id="122" creationId="{42D9E20A-3302-20CB-10CA-539120F108A0}"/>
          </ac:spMkLst>
        </pc:spChg>
        <pc:spChg chg="add del mod modVis">
          <ac:chgData name="vonWaldow, Ulrich" userId="c64b3fe1-2fbf-4408-adc4-30add62e991f" providerId="ADAL" clId="{B99A90B8-7D29-4456-AFD4-0F3DBA13A596}" dt="2024-08-27T11:56:53.740" v="40537"/>
          <ac:spMkLst>
            <pc:docMk/>
            <pc:sldMk cId="0" sldId="274"/>
            <ac:spMk id="124" creationId="{78144767-AE8D-7C68-3D00-4F0FF7E9FDD4}"/>
          </ac:spMkLst>
        </pc:spChg>
        <pc:spChg chg="add del mod modVis">
          <ac:chgData name="vonWaldow, Ulrich" userId="c64b3fe1-2fbf-4408-adc4-30add62e991f" providerId="ADAL" clId="{B99A90B8-7D29-4456-AFD4-0F3DBA13A596}" dt="2024-08-27T11:57:02.506" v="40637"/>
          <ac:spMkLst>
            <pc:docMk/>
            <pc:sldMk cId="0" sldId="274"/>
            <ac:spMk id="126" creationId="{91D33F84-E7FF-8EDA-65A2-6DFA9BE4E542}"/>
          </ac:spMkLst>
        </pc:spChg>
        <pc:spChg chg="add del mod modVis">
          <ac:chgData name="vonWaldow, Ulrich" userId="c64b3fe1-2fbf-4408-adc4-30add62e991f" providerId="ADAL" clId="{B99A90B8-7D29-4456-AFD4-0F3DBA13A596}" dt="2024-08-27T11:57:02.613" v="40737"/>
          <ac:spMkLst>
            <pc:docMk/>
            <pc:sldMk cId="0" sldId="274"/>
            <ac:spMk id="128" creationId="{5ACDFB2F-2436-D906-6414-1BE84CB37483}"/>
          </ac:spMkLst>
        </pc:spChg>
        <pc:spChg chg="add del mod modVis">
          <ac:chgData name="vonWaldow, Ulrich" userId="c64b3fe1-2fbf-4408-adc4-30add62e991f" providerId="ADAL" clId="{B99A90B8-7D29-4456-AFD4-0F3DBA13A596}" dt="2024-08-27T11:57:03.823" v="40837"/>
          <ac:spMkLst>
            <pc:docMk/>
            <pc:sldMk cId="0" sldId="274"/>
            <ac:spMk id="130" creationId="{D84BE958-4E49-73CA-C73E-171862CC0BDD}"/>
          </ac:spMkLst>
        </pc:spChg>
        <pc:spChg chg="add del mod modVis">
          <ac:chgData name="vonWaldow, Ulrich" userId="c64b3fe1-2fbf-4408-adc4-30add62e991f" providerId="ADAL" clId="{B99A90B8-7D29-4456-AFD4-0F3DBA13A596}" dt="2024-08-27T11:57:03.950" v="40937"/>
          <ac:spMkLst>
            <pc:docMk/>
            <pc:sldMk cId="0" sldId="274"/>
            <ac:spMk id="132" creationId="{66CA8638-668B-53BE-610B-89D3C292A1A6}"/>
          </ac:spMkLst>
        </pc:spChg>
        <pc:spChg chg="add del mod modVis">
          <ac:chgData name="vonWaldow, Ulrich" userId="c64b3fe1-2fbf-4408-adc4-30add62e991f" providerId="ADAL" clId="{B99A90B8-7D29-4456-AFD4-0F3DBA13A596}" dt="2024-08-27T11:57:06.747" v="41037"/>
          <ac:spMkLst>
            <pc:docMk/>
            <pc:sldMk cId="0" sldId="274"/>
            <ac:spMk id="134" creationId="{19AA9300-ED3E-55A8-E2EA-6B4B8618E7B6}"/>
          </ac:spMkLst>
        </pc:spChg>
        <pc:spChg chg="add del mod modVis">
          <ac:chgData name="vonWaldow, Ulrich" userId="c64b3fe1-2fbf-4408-adc4-30add62e991f" providerId="ADAL" clId="{B99A90B8-7D29-4456-AFD4-0F3DBA13A596}" dt="2024-08-27T11:57:06.937" v="41137"/>
          <ac:spMkLst>
            <pc:docMk/>
            <pc:sldMk cId="0" sldId="274"/>
            <ac:spMk id="136" creationId="{ABA96C00-80A8-2796-7CB3-1E78E3E10552}"/>
          </ac:spMkLst>
        </pc:spChg>
        <pc:spChg chg="add del mod modVis">
          <ac:chgData name="vonWaldow, Ulrich" userId="c64b3fe1-2fbf-4408-adc4-30add62e991f" providerId="ADAL" clId="{B99A90B8-7D29-4456-AFD4-0F3DBA13A596}" dt="2024-08-27T11:57:08.175" v="41237"/>
          <ac:spMkLst>
            <pc:docMk/>
            <pc:sldMk cId="0" sldId="274"/>
            <ac:spMk id="138" creationId="{BFADD1FC-E9F6-697E-B7E1-5CD6B5E95871}"/>
          </ac:spMkLst>
        </pc:spChg>
        <pc:spChg chg="add del mod modVis">
          <ac:chgData name="vonWaldow, Ulrich" userId="c64b3fe1-2fbf-4408-adc4-30add62e991f" providerId="ADAL" clId="{B99A90B8-7D29-4456-AFD4-0F3DBA13A596}" dt="2024-08-27T11:57:08.351" v="41337"/>
          <ac:spMkLst>
            <pc:docMk/>
            <pc:sldMk cId="0" sldId="274"/>
            <ac:spMk id="140" creationId="{F8DBE584-BBB6-D7BB-6E26-28B94C3A4EBB}"/>
          </ac:spMkLst>
        </pc:spChg>
        <pc:spChg chg="add del mod modVis">
          <ac:chgData name="vonWaldow, Ulrich" userId="c64b3fe1-2fbf-4408-adc4-30add62e991f" providerId="ADAL" clId="{B99A90B8-7D29-4456-AFD4-0F3DBA13A596}" dt="2024-08-27T11:57:08.970" v="41437"/>
          <ac:spMkLst>
            <pc:docMk/>
            <pc:sldMk cId="0" sldId="274"/>
            <ac:spMk id="142" creationId="{33DCF147-B456-D63A-134E-7CBB791791E9}"/>
          </ac:spMkLst>
        </pc:spChg>
        <pc:spChg chg="add del mod modVis">
          <ac:chgData name="vonWaldow, Ulrich" userId="c64b3fe1-2fbf-4408-adc4-30add62e991f" providerId="ADAL" clId="{B99A90B8-7D29-4456-AFD4-0F3DBA13A596}" dt="2024-08-27T11:57:09.170" v="41537"/>
          <ac:spMkLst>
            <pc:docMk/>
            <pc:sldMk cId="0" sldId="274"/>
            <ac:spMk id="144" creationId="{A75707BE-8481-A9AC-0566-FD0D05AB5BD8}"/>
          </ac:spMkLst>
        </pc:spChg>
        <pc:spChg chg="add del mod modVis">
          <ac:chgData name="vonWaldow, Ulrich" userId="c64b3fe1-2fbf-4408-adc4-30add62e991f" providerId="ADAL" clId="{B99A90B8-7D29-4456-AFD4-0F3DBA13A596}" dt="2024-08-27T11:57:09.646" v="41637"/>
          <ac:spMkLst>
            <pc:docMk/>
            <pc:sldMk cId="0" sldId="274"/>
            <ac:spMk id="146" creationId="{BF0AB155-1634-C652-1E6C-4AC092A3EEFC}"/>
          </ac:spMkLst>
        </pc:spChg>
        <pc:spChg chg="add del mod modVis">
          <ac:chgData name="vonWaldow, Ulrich" userId="c64b3fe1-2fbf-4408-adc4-30add62e991f" providerId="ADAL" clId="{B99A90B8-7D29-4456-AFD4-0F3DBA13A596}" dt="2024-08-27T11:57:09.786" v="41737"/>
          <ac:spMkLst>
            <pc:docMk/>
            <pc:sldMk cId="0" sldId="274"/>
            <ac:spMk id="148" creationId="{158594EC-893E-1A96-0EAA-3C95119CC589}"/>
          </ac:spMkLst>
        </pc:spChg>
        <pc:spChg chg="add del mod modVis">
          <ac:chgData name="vonWaldow, Ulrich" userId="c64b3fe1-2fbf-4408-adc4-30add62e991f" providerId="ADAL" clId="{B99A90B8-7D29-4456-AFD4-0F3DBA13A596}" dt="2024-08-27T11:57:21.895" v="41839"/>
          <ac:spMkLst>
            <pc:docMk/>
            <pc:sldMk cId="0" sldId="274"/>
            <ac:spMk id="150" creationId="{CFF5B24D-DFD6-C84D-D828-6DD3704863DF}"/>
          </ac:spMkLst>
        </pc:spChg>
        <pc:spChg chg="add del mod modVis">
          <ac:chgData name="vonWaldow, Ulrich" userId="c64b3fe1-2fbf-4408-adc4-30add62e991f" providerId="ADAL" clId="{B99A90B8-7D29-4456-AFD4-0F3DBA13A596}" dt="2024-08-27T11:57:22.084" v="41939"/>
          <ac:spMkLst>
            <pc:docMk/>
            <pc:sldMk cId="0" sldId="274"/>
            <ac:spMk id="152" creationId="{1E0FF3E6-A48C-FE36-C5C7-BBFB4522DE90}"/>
          </ac:spMkLst>
        </pc:spChg>
        <pc:spChg chg="add del mod modVis">
          <ac:chgData name="vonWaldow, Ulrich" userId="c64b3fe1-2fbf-4408-adc4-30add62e991f" providerId="ADAL" clId="{B99A90B8-7D29-4456-AFD4-0F3DBA13A596}" dt="2024-08-27T11:57:24.243" v="42041"/>
          <ac:spMkLst>
            <pc:docMk/>
            <pc:sldMk cId="0" sldId="274"/>
            <ac:spMk id="154" creationId="{61FD2D9A-3408-4C63-E514-B838893E2F08}"/>
          </ac:spMkLst>
        </pc:spChg>
        <pc:spChg chg="add del mod modVis">
          <ac:chgData name="vonWaldow, Ulrich" userId="c64b3fe1-2fbf-4408-adc4-30add62e991f" providerId="ADAL" clId="{B99A90B8-7D29-4456-AFD4-0F3DBA13A596}" dt="2024-08-27T11:57:24.414" v="42141"/>
          <ac:spMkLst>
            <pc:docMk/>
            <pc:sldMk cId="0" sldId="274"/>
            <ac:spMk id="156" creationId="{963D491F-DAAA-5435-A787-D9C3CE193441}"/>
          </ac:spMkLst>
        </pc:spChg>
        <pc:spChg chg="add del mod modVis">
          <ac:chgData name="vonWaldow, Ulrich" userId="c64b3fe1-2fbf-4408-adc4-30add62e991f" providerId="ADAL" clId="{B99A90B8-7D29-4456-AFD4-0F3DBA13A596}" dt="2024-08-27T11:57:25.025" v="42241"/>
          <ac:spMkLst>
            <pc:docMk/>
            <pc:sldMk cId="0" sldId="274"/>
            <ac:spMk id="158" creationId="{FD8EC582-3901-7953-6C65-3C24D5E03766}"/>
          </ac:spMkLst>
        </pc:spChg>
        <pc:spChg chg="add del mod modVis">
          <ac:chgData name="vonWaldow, Ulrich" userId="c64b3fe1-2fbf-4408-adc4-30add62e991f" providerId="ADAL" clId="{B99A90B8-7D29-4456-AFD4-0F3DBA13A596}" dt="2024-08-27T11:57:25.182" v="42341"/>
          <ac:spMkLst>
            <pc:docMk/>
            <pc:sldMk cId="0" sldId="274"/>
            <ac:spMk id="160" creationId="{F2635AC1-0508-9E01-CE31-0A88B233E133}"/>
          </ac:spMkLst>
        </pc:spChg>
        <pc:spChg chg="add del mod modVis">
          <ac:chgData name="vonWaldow, Ulrich" userId="c64b3fe1-2fbf-4408-adc4-30add62e991f" providerId="ADAL" clId="{B99A90B8-7D29-4456-AFD4-0F3DBA13A596}" dt="2024-08-27T11:57:31.421" v="42441"/>
          <ac:spMkLst>
            <pc:docMk/>
            <pc:sldMk cId="0" sldId="274"/>
            <ac:spMk id="162" creationId="{42FF8002-FF77-E017-4C14-41A71E676829}"/>
          </ac:spMkLst>
        </pc:spChg>
        <pc:spChg chg="add del mod modVis">
          <ac:chgData name="vonWaldow, Ulrich" userId="c64b3fe1-2fbf-4408-adc4-30add62e991f" providerId="ADAL" clId="{B99A90B8-7D29-4456-AFD4-0F3DBA13A596}" dt="2024-08-27T11:57:31.515" v="42541"/>
          <ac:spMkLst>
            <pc:docMk/>
            <pc:sldMk cId="0" sldId="274"/>
            <ac:spMk id="164" creationId="{A6F53B0A-7B31-1FCE-C85A-2A5B3451EF90}"/>
          </ac:spMkLst>
        </pc:spChg>
        <pc:spChg chg="add del mod modVis">
          <ac:chgData name="vonWaldow, Ulrich" userId="c64b3fe1-2fbf-4408-adc4-30add62e991f" providerId="ADAL" clId="{B99A90B8-7D29-4456-AFD4-0F3DBA13A596}" dt="2024-08-27T11:57:33.610" v="42641"/>
          <ac:spMkLst>
            <pc:docMk/>
            <pc:sldMk cId="0" sldId="274"/>
            <ac:spMk id="166" creationId="{384F45C9-8B8C-FD6D-61D7-6CA2E916123E}"/>
          </ac:spMkLst>
        </pc:spChg>
        <pc:spChg chg="add del mod modVis">
          <ac:chgData name="vonWaldow, Ulrich" userId="c64b3fe1-2fbf-4408-adc4-30add62e991f" providerId="ADAL" clId="{B99A90B8-7D29-4456-AFD4-0F3DBA13A596}" dt="2024-08-27T11:57:33.775" v="42741"/>
          <ac:spMkLst>
            <pc:docMk/>
            <pc:sldMk cId="0" sldId="274"/>
            <ac:spMk id="168" creationId="{55753214-02F0-4461-C65C-CE36B1CF7B47}"/>
          </ac:spMkLst>
        </pc:spChg>
        <pc:spChg chg="add del mod modVis">
          <ac:chgData name="vonWaldow, Ulrich" userId="c64b3fe1-2fbf-4408-adc4-30add62e991f" providerId="ADAL" clId="{B99A90B8-7D29-4456-AFD4-0F3DBA13A596}" dt="2024-08-27T11:57:41.126" v="42841"/>
          <ac:spMkLst>
            <pc:docMk/>
            <pc:sldMk cId="0" sldId="274"/>
            <ac:spMk id="170" creationId="{3645F1E2-87DA-81A7-AC82-6FF63B122058}"/>
          </ac:spMkLst>
        </pc:spChg>
        <pc:spChg chg="add del mod modVis">
          <ac:chgData name="vonWaldow, Ulrich" userId="c64b3fe1-2fbf-4408-adc4-30add62e991f" providerId="ADAL" clId="{B99A90B8-7D29-4456-AFD4-0F3DBA13A596}" dt="2024-08-27T11:57:41.253" v="42966"/>
          <ac:spMkLst>
            <pc:docMk/>
            <pc:sldMk cId="0" sldId="274"/>
            <ac:spMk id="172" creationId="{0930E3EB-E64A-AB79-B1F1-9CCB2DF9E74E}"/>
          </ac:spMkLst>
        </pc:spChg>
        <pc:spChg chg="add del mod modVis">
          <ac:chgData name="vonWaldow, Ulrich" userId="c64b3fe1-2fbf-4408-adc4-30add62e991f" providerId="ADAL" clId="{B99A90B8-7D29-4456-AFD4-0F3DBA13A596}" dt="2024-08-27T11:57:49.446" v="43068"/>
          <ac:spMkLst>
            <pc:docMk/>
            <pc:sldMk cId="0" sldId="274"/>
            <ac:spMk id="175" creationId="{030D7D88-9B1B-5644-2A59-65103DBDA2E8}"/>
          </ac:spMkLst>
        </pc:spChg>
        <pc:spChg chg="add del mod modVis">
          <ac:chgData name="vonWaldow, Ulrich" userId="c64b3fe1-2fbf-4408-adc4-30add62e991f" providerId="ADAL" clId="{B99A90B8-7D29-4456-AFD4-0F3DBA13A596}" dt="2024-08-27T11:57:49.540" v="43184"/>
          <ac:spMkLst>
            <pc:docMk/>
            <pc:sldMk cId="0" sldId="274"/>
            <ac:spMk id="177" creationId="{3B89D771-856A-4D74-4E08-5CDA180FD030}"/>
          </ac:spMkLst>
        </pc:spChg>
        <pc:spChg chg="add del mod modVis">
          <ac:chgData name="vonWaldow, Ulrich" userId="c64b3fe1-2fbf-4408-adc4-30add62e991f" providerId="ADAL" clId="{B99A90B8-7D29-4456-AFD4-0F3DBA13A596}" dt="2024-08-27T11:57:55.724" v="43284"/>
          <ac:spMkLst>
            <pc:docMk/>
            <pc:sldMk cId="0" sldId="274"/>
            <ac:spMk id="179" creationId="{1E817106-1CAC-0E30-FF74-9D8F1C5FE5E6}"/>
          </ac:spMkLst>
        </pc:spChg>
        <pc:spChg chg="add del mod modVis">
          <ac:chgData name="vonWaldow, Ulrich" userId="c64b3fe1-2fbf-4408-adc4-30add62e991f" providerId="ADAL" clId="{B99A90B8-7D29-4456-AFD4-0F3DBA13A596}" dt="2024-08-27T11:57:55.881" v="43415"/>
          <ac:spMkLst>
            <pc:docMk/>
            <pc:sldMk cId="0" sldId="274"/>
            <ac:spMk id="181" creationId="{B765852D-4703-4F2F-E593-A91EB5BA701B}"/>
          </ac:spMkLst>
        </pc:spChg>
        <pc:spChg chg="add del mod modVis">
          <ac:chgData name="vonWaldow, Ulrich" userId="c64b3fe1-2fbf-4408-adc4-30add62e991f" providerId="ADAL" clId="{B99A90B8-7D29-4456-AFD4-0F3DBA13A596}" dt="2024-08-27T11:58:02.137" v="43515"/>
          <ac:spMkLst>
            <pc:docMk/>
            <pc:sldMk cId="0" sldId="274"/>
            <ac:spMk id="184" creationId="{1FF645A7-AB53-6905-8198-665A8468659C}"/>
          </ac:spMkLst>
        </pc:spChg>
        <pc:spChg chg="add del mod modVis">
          <ac:chgData name="vonWaldow, Ulrich" userId="c64b3fe1-2fbf-4408-adc4-30add62e991f" providerId="ADAL" clId="{B99A90B8-7D29-4456-AFD4-0F3DBA13A596}" dt="2024-08-27T11:58:02.247" v="43635"/>
          <ac:spMkLst>
            <pc:docMk/>
            <pc:sldMk cId="0" sldId="274"/>
            <ac:spMk id="186" creationId="{011DFA24-CA37-4DAC-A47D-8F33E9138101}"/>
          </ac:spMkLst>
        </pc:spChg>
        <pc:spChg chg="add del mod modVis">
          <ac:chgData name="vonWaldow, Ulrich" userId="c64b3fe1-2fbf-4408-adc4-30add62e991f" providerId="ADAL" clId="{B99A90B8-7D29-4456-AFD4-0F3DBA13A596}" dt="2024-08-27T11:58:05.357" v="43738"/>
          <ac:spMkLst>
            <pc:docMk/>
            <pc:sldMk cId="0" sldId="274"/>
            <ac:spMk id="188" creationId="{607F3CBA-0A84-448E-E825-0801230D3D33}"/>
          </ac:spMkLst>
        </pc:spChg>
        <pc:spChg chg="add del mod modVis">
          <ac:chgData name="vonWaldow, Ulrich" userId="c64b3fe1-2fbf-4408-adc4-30add62e991f" providerId="ADAL" clId="{B99A90B8-7D29-4456-AFD4-0F3DBA13A596}" dt="2024-08-27T11:58:05.516" v="43882"/>
          <ac:spMkLst>
            <pc:docMk/>
            <pc:sldMk cId="0" sldId="274"/>
            <ac:spMk id="190" creationId="{44B8FF93-3076-C5DB-2BFD-6C4ABFA00DA6}"/>
          </ac:spMkLst>
        </pc:spChg>
        <pc:spChg chg="add del mod modVis">
          <ac:chgData name="vonWaldow, Ulrich" userId="c64b3fe1-2fbf-4408-adc4-30add62e991f" providerId="ADAL" clId="{B99A90B8-7D29-4456-AFD4-0F3DBA13A596}" dt="2024-08-27T11:58:07.764" v="43987"/>
          <ac:spMkLst>
            <pc:docMk/>
            <pc:sldMk cId="0" sldId="274"/>
            <ac:spMk id="193" creationId="{4ECAF72B-A1AF-031E-AE69-F6396F045CA7}"/>
          </ac:spMkLst>
        </pc:spChg>
        <pc:spChg chg="add del mod modVis">
          <ac:chgData name="vonWaldow, Ulrich" userId="c64b3fe1-2fbf-4408-adc4-30add62e991f" providerId="ADAL" clId="{B99A90B8-7D29-4456-AFD4-0F3DBA13A596}" dt="2024-08-27T11:58:07.938" v="44122"/>
          <ac:spMkLst>
            <pc:docMk/>
            <pc:sldMk cId="0" sldId="274"/>
            <ac:spMk id="195" creationId="{3181E6F8-6BE4-49CA-B7C4-C737BF7CEADB}"/>
          </ac:spMkLst>
        </pc:spChg>
        <pc:spChg chg="add del mod modVis">
          <ac:chgData name="vonWaldow, Ulrich" userId="c64b3fe1-2fbf-4408-adc4-30add62e991f" providerId="ADAL" clId="{B99A90B8-7D29-4456-AFD4-0F3DBA13A596}" dt="2024-08-27T11:58:18.305" v="44227"/>
          <ac:spMkLst>
            <pc:docMk/>
            <pc:sldMk cId="0" sldId="274"/>
            <ac:spMk id="197" creationId="{C3717483-7E48-98AE-1898-FA2A73A9876C}"/>
          </ac:spMkLst>
        </pc:spChg>
        <pc:spChg chg="add del mod modVis">
          <ac:chgData name="vonWaldow, Ulrich" userId="c64b3fe1-2fbf-4408-adc4-30add62e991f" providerId="ADAL" clId="{B99A90B8-7D29-4456-AFD4-0F3DBA13A596}" dt="2024-08-27T11:58:18.450" v="44381"/>
          <ac:spMkLst>
            <pc:docMk/>
            <pc:sldMk cId="0" sldId="274"/>
            <ac:spMk id="199" creationId="{1C6DB4C0-5605-565B-926C-4DBBA543EB5C}"/>
          </ac:spMkLst>
        </pc:spChg>
        <pc:spChg chg="add del mod modVis">
          <ac:chgData name="vonWaldow, Ulrich" userId="c64b3fe1-2fbf-4408-adc4-30add62e991f" providerId="ADAL" clId="{B99A90B8-7D29-4456-AFD4-0F3DBA13A596}" dt="2024-08-27T11:58:20.290" v="44489"/>
          <ac:spMkLst>
            <pc:docMk/>
            <pc:sldMk cId="0" sldId="274"/>
            <ac:spMk id="202" creationId="{7CD4393B-F48F-157F-438B-39CD32A014F4}"/>
          </ac:spMkLst>
        </pc:spChg>
        <pc:spChg chg="add del mod modVis">
          <ac:chgData name="vonWaldow, Ulrich" userId="c64b3fe1-2fbf-4408-adc4-30add62e991f" providerId="ADAL" clId="{B99A90B8-7D29-4456-AFD4-0F3DBA13A596}" dt="2024-08-27T11:58:20.401" v="44597"/>
          <ac:spMkLst>
            <pc:docMk/>
            <pc:sldMk cId="0" sldId="274"/>
            <ac:spMk id="204" creationId="{0848C79D-8660-784C-061D-562FF6BC72C3}"/>
          </ac:spMkLst>
        </pc:spChg>
        <pc:spChg chg="add del mod modVis">
          <ac:chgData name="vonWaldow, Ulrich" userId="c64b3fe1-2fbf-4408-adc4-30add62e991f" providerId="ADAL" clId="{B99A90B8-7D29-4456-AFD4-0F3DBA13A596}" dt="2024-08-27T11:58:23.480" v="44705"/>
          <ac:spMkLst>
            <pc:docMk/>
            <pc:sldMk cId="0" sldId="274"/>
            <ac:spMk id="206" creationId="{6D7E01B9-5934-5C10-6FC1-E247A24DA80F}"/>
          </ac:spMkLst>
        </pc:spChg>
        <pc:spChg chg="add del mod modVis">
          <ac:chgData name="vonWaldow, Ulrich" userId="c64b3fe1-2fbf-4408-adc4-30add62e991f" providerId="ADAL" clId="{B99A90B8-7D29-4456-AFD4-0F3DBA13A596}" dt="2024-08-27T11:58:23.624" v="44813"/>
          <ac:spMkLst>
            <pc:docMk/>
            <pc:sldMk cId="0" sldId="274"/>
            <ac:spMk id="208" creationId="{272DF9F6-4642-0504-5AB2-2997669420D8}"/>
          </ac:spMkLst>
        </pc:spChg>
        <pc:spChg chg="add del mod modVis">
          <ac:chgData name="vonWaldow, Ulrich" userId="c64b3fe1-2fbf-4408-adc4-30add62e991f" providerId="ADAL" clId="{B99A90B8-7D29-4456-AFD4-0F3DBA13A596}" dt="2024-08-27T11:58:28.853" v="44921"/>
          <ac:spMkLst>
            <pc:docMk/>
            <pc:sldMk cId="0" sldId="274"/>
            <ac:spMk id="210" creationId="{D23C21F7-040F-5AEF-0A62-CB82A1B08AE6}"/>
          </ac:spMkLst>
        </pc:spChg>
        <pc:spChg chg="add del mod modVis">
          <ac:chgData name="vonWaldow, Ulrich" userId="c64b3fe1-2fbf-4408-adc4-30add62e991f" providerId="ADAL" clId="{B99A90B8-7D29-4456-AFD4-0F3DBA13A596}" dt="2024-08-27T11:58:29.086" v="45039"/>
          <ac:spMkLst>
            <pc:docMk/>
            <pc:sldMk cId="0" sldId="274"/>
            <ac:spMk id="212" creationId="{90B1AA07-E20C-2600-C90C-E3AF89648DA7}"/>
          </ac:spMkLst>
        </pc:spChg>
        <pc:spChg chg="add del mod modVis">
          <ac:chgData name="vonWaldow, Ulrich" userId="c64b3fe1-2fbf-4408-adc4-30add62e991f" providerId="ADAL" clId="{B99A90B8-7D29-4456-AFD4-0F3DBA13A596}" dt="2024-08-27T11:58:38.918" v="45147"/>
          <ac:spMkLst>
            <pc:docMk/>
            <pc:sldMk cId="0" sldId="274"/>
            <ac:spMk id="214" creationId="{8919E68F-509C-0C10-199C-072E5AC1DC3E}"/>
          </ac:spMkLst>
        </pc:spChg>
        <pc:spChg chg="add del mod modVis">
          <ac:chgData name="vonWaldow, Ulrich" userId="c64b3fe1-2fbf-4408-adc4-30add62e991f" providerId="ADAL" clId="{B99A90B8-7D29-4456-AFD4-0F3DBA13A596}" dt="2024-08-27T11:58:39.020" v="45255"/>
          <ac:spMkLst>
            <pc:docMk/>
            <pc:sldMk cId="0" sldId="274"/>
            <ac:spMk id="216" creationId="{E9E54E1A-0603-EB17-28DE-34DB31FDEAB1}"/>
          </ac:spMkLst>
        </pc:spChg>
        <pc:spChg chg="add del mod modVis">
          <ac:chgData name="vonWaldow, Ulrich" userId="c64b3fe1-2fbf-4408-adc4-30add62e991f" providerId="ADAL" clId="{B99A90B8-7D29-4456-AFD4-0F3DBA13A596}" dt="2024-08-27T11:58:46.554" v="45363"/>
          <ac:spMkLst>
            <pc:docMk/>
            <pc:sldMk cId="0" sldId="274"/>
            <ac:spMk id="218" creationId="{FB480C2F-AB9C-E6B9-9028-8769FD010E97}"/>
          </ac:spMkLst>
        </pc:spChg>
        <pc:spChg chg="add del mod modVis">
          <ac:chgData name="vonWaldow, Ulrich" userId="c64b3fe1-2fbf-4408-adc4-30add62e991f" providerId="ADAL" clId="{B99A90B8-7D29-4456-AFD4-0F3DBA13A596}" dt="2024-08-27T11:58:46.656" v="45471"/>
          <ac:spMkLst>
            <pc:docMk/>
            <pc:sldMk cId="0" sldId="274"/>
            <ac:spMk id="220" creationId="{BA1C64D7-7BA8-D30C-863F-059147499DBA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39"/>
          <ac:spMkLst>
            <pc:docMk/>
            <pc:sldMk cId="0" sldId="274"/>
            <ac:spMk id="222" creationId="{FF51266D-E250-DCBF-BE44-BA69EBC5FD45}"/>
          </ac:spMkLst>
        </pc:spChg>
        <pc:spChg chg="add del mod modVis">
          <ac:chgData name="vonWaldow, Ulrich" userId="c64b3fe1-2fbf-4408-adc4-30add62e991f" providerId="ADAL" clId="{B99A90B8-7D29-4456-AFD4-0F3DBA13A596}" dt="2024-08-27T11:58:51.971" v="45670"/>
          <ac:spMkLst>
            <pc:docMk/>
            <pc:sldMk cId="0" sldId="274"/>
            <ac:spMk id="223" creationId="{BEC8A1BB-38B4-078F-376B-15183878B2CD}"/>
          </ac:spMkLst>
        </pc:spChg>
        <pc:spChg chg="add del mod modVis">
          <ac:chgData name="vonWaldow, Ulrich" userId="c64b3fe1-2fbf-4408-adc4-30add62e991f" providerId="ADAL" clId="{B99A90B8-7D29-4456-AFD4-0F3DBA13A596}" dt="2024-08-27T11:58:52.112" v="45826"/>
          <ac:spMkLst>
            <pc:docMk/>
            <pc:sldMk cId="0" sldId="274"/>
            <ac:spMk id="228" creationId="{E49A909A-4DBC-754E-7143-58B32490D9D4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7"/>
          <ac:spMkLst>
            <pc:docMk/>
            <pc:sldMk cId="0" sldId="274"/>
            <ac:spMk id="232" creationId="{1EF598E6-EA31-4636-6937-41AA83502B31}"/>
          </ac:spMkLst>
        </pc:spChg>
        <pc:spChg chg="add del mod modVis">
          <ac:chgData name="vonWaldow, Ulrich" userId="c64b3fe1-2fbf-4408-adc4-30add62e991f" providerId="ADAL" clId="{B99A90B8-7D29-4456-AFD4-0F3DBA13A596}" dt="2024-08-27T11:58:53.258" v="45990"/>
          <ac:spMkLst>
            <pc:docMk/>
            <pc:sldMk cId="0" sldId="274"/>
            <ac:spMk id="233" creationId="{E630254C-03A7-E520-EE78-DDE6193BC2FF}"/>
          </ac:spMkLst>
        </pc:spChg>
        <pc:spChg chg="add del mod modVis">
          <ac:chgData name="vonWaldow, Ulrich" userId="c64b3fe1-2fbf-4408-adc4-30add62e991f" providerId="ADAL" clId="{B99A90B8-7D29-4456-AFD4-0F3DBA13A596}" dt="2024-08-27T11:58:53.430" v="46148"/>
          <ac:spMkLst>
            <pc:docMk/>
            <pc:sldMk cId="0" sldId="274"/>
            <ac:spMk id="235" creationId="{E02D74DE-8BDA-EED5-D75E-D1E0F43F47F8}"/>
          </ac:spMkLst>
        </pc:spChg>
        <pc:spChg chg="add del mod replST">
          <ac:chgData name="vonWaldow, Ulrich" userId="c64b3fe1-2fbf-4408-adc4-30add62e991f" providerId="ADAL" clId="{B99A90B8-7D29-4456-AFD4-0F3DBA13A596}" dt="2024-08-27T12:04:34.448" v="50343"/>
          <ac:spMkLst>
            <pc:docMk/>
            <pc:sldMk cId="0" sldId="274"/>
            <ac:spMk id="237" creationId="{C4287A20-B764-D187-798C-F8146D2442C4}"/>
          </ac:spMkLst>
        </pc:spChg>
        <pc:spChg chg="add del mod modVis">
          <ac:chgData name="vonWaldow, Ulrich" userId="c64b3fe1-2fbf-4408-adc4-30add62e991f" providerId="ADAL" clId="{B99A90B8-7D29-4456-AFD4-0F3DBA13A596}" dt="2024-08-27T11:58:57.340" v="46298"/>
          <ac:spMkLst>
            <pc:docMk/>
            <pc:sldMk cId="0" sldId="274"/>
            <ac:spMk id="238" creationId="{13BF5CC3-8AB5-6C07-072B-42E46C7B9CC9}"/>
          </ac:spMkLst>
        </pc:spChg>
        <pc:spChg chg="add del mod modVis">
          <ac:chgData name="vonWaldow, Ulrich" userId="c64b3fe1-2fbf-4408-adc4-30add62e991f" providerId="ADAL" clId="{B99A90B8-7D29-4456-AFD4-0F3DBA13A596}" dt="2024-08-27T11:58:57.529" v="46414"/>
          <ac:spMkLst>
            <pc:docMk/>
            <pc:sldMk cId="0" sldId="274"/>
            <ac:spMk id="240" creationId="{EE1A9D45-DFCF-2DCD-370F-97196F7E3803}"/>
          </ac:spMkLst>
        </pc:spChg>
        <pc:spChg chg="add del mod modVis">
          <ac:chgData name="vonWaldow, Ulrich" userId="c64b3fe1-2fbf-4408-adc4-30add62e991f" providerId="ADAL" clId="{B99A90B8-7D29-4456-AFD4-0F3DBA13A596}" dt="2024-08-27T11:59:04.980" v="46526"/>
          <ac:spMkLst>
            <pc:docMk/>
            <pc:sldMk cId="0" sldId="274"/>
            <ac:spMk id="242" creationId="{08AB9EE7-DBA1-9438-3B76-833D4BBCF562}"/>
          </ac:spMkLst>
        </pc:spChg>
        <pc:spChg chg="add del mod modVis">
          <ac:chgData name="vonWaldow, Ulrich" userId="c64b3fe1-2fbf-4408-adc4-30add62e991f" providerId="ADAL" clId="{B99A90B8-7D29-4456-AFD4-0F3DBA13A596}" dt="2024-08-27T11:59:05.201" v="46638"/>
          <ac:spMkLst>
            <pc:docMk/>
            <pc:sldMk cId="0" sldId="274"/>
            <ac:spMk id="244" creationId="{135DCCC8-D8EC-86F8-57E0-2E936ECB8956}"/>
          </ac:spMkLst>
        </pc:spChg>
        <pc:spChg chg="add del mod modVis">
          <ac:chgData name="vonWaldow, Ulrich" userId="c64b3fe1-2fbf-4408-adc4-30add62e991f" providerId="ADAL" clId="{B99A90B8-7D29-4456-AFD4-0F3DBA13A596}" dt="2024-08-27T11:59:07.948" v="46750"/>
          <ac:spMkLst>
            <pc:docMk/>
            <pc:sldMk cId="0" sldId="274"/>
            <ac:spMk id="246" creationId="{7B0B7A38-3664-4F4D-B9EF-18ED9DE3C291}"/>
          </ac:spMkLst>
        </pc:spChg>
        <pc:spChg chg="add del mod modVis">
          <ac:chgData name="vonWaldow, Ulrich" userId="c64b3fe1-2fbf-4408-adc4-30add62e991f" providerId="ADAL" clId="{B99A90B8-7D29-4456-AFD4-0F3DBA13A596}" dt="2024-08-27T11:59:08.206" v="46862"/>
          <ac:spMkLst>
            <pc:docMk/>
            <pc:sldMk cId="0" sldId="274"/>
            <ac:spMk id="248" creationId="{0BC0DAD6-3AE6-223E-C4D3-C420F1CC64F1}"/>
          </ac:spMkLst>
        </pc:spChg>
        <pc:spChg chg="add del mod modVis">
          <ac:chgData name="vonWaldow, Ulrich" userId="c64b3fe1-2fbf-4408-adc4-30add62e991f" providerId="ADAL" clId="{B99A90B8-7D29-4456-AFD4-0F3DBA13A596}" dt="2024-08-27T11:59:10.701" v="46974"/>
          <ac:spMkLst>
            <pc:docMk/>
            <pc:sldMk cId="0" sldId="274"/>
            <ac:spMk id="250" creationId="{91D50B4B-8BAD-11EC-225B-2179B759DEE2}"/>
          </ac:spMkLst>
        </pc:spChg>
        <pc:spChg chg="add del mod modVis">
          <ac:chgData name="vonWaldow, Ulrich" userId="c64b3fe1-2fbf-4408-adc4-30add62e991f" providerId="ADAL" clId="{B99A90B8-7D29-4456-AFD4-0F3DBA13A596}" dt="2024-08-27T11:59:10.966" v="47086"/>
          <ac:spMkLst>
            <pc:docMk/>
            <pc:sldMk cId="0" sldId="274"/>
            <ac:spMk id="252" creationId="{ABD1DAE1-CDB4-65FE-D9D3-044D89326934}"/>
          </ac:spMkLst>
        </pc:spChg>
        <pc:spChg chg="add del mod modVis">
          <ac:chgData name="vonWaldow, Ulrich" userId="c64b3fe1-2fbf-4408-adc4-30add62e991f" providerId="ADAL" clId="{B99A90B8-7D29-4456-AFD4-0F3DBA13A596}" dt="2024-08-27T11:59:14.903" v="47198"/>
          <ac:spMkLst>
            <pc:docMk/>
            <pc:sldMk cId="0" sldId="274"/>
            <ac:spMk id="254" creationId="{01F6D8F9-9504-8639-FF32-14C2AE03468A}"/>
          </ac:spMkLst>
        </pc:spChg>
        <pc:spChg chg="add del mod modVis">
          <ac:chgData name="vonWaldow, Ulrich" userId="c64b3fe1-2fbf-4408-adc4-30add62e991f" providerId="ADAL" clId="{B99A90B8-7D29-4456-AFD4-0F3DBA13A596}" dt="2024-08-27T11:59:15.128" v="47310"/>
          <ac:spMkLst>
            <pc:docMk/>
            <pc:sldMk cId="0" sldId="274"/>
            <ac:spMk id="256" creationId="{B37EF3A1-EDAD-3019-114A-7B6B2A663BF8}"/>
          </ac:spMkLst>
        </pc:spChg>
        <pc:spChg chg="add del mod modVis">
          <ac:chgData name="vonWaldow, Ulrich" userId="c64b3fe1-2fbf-4408-adc4-30add62e991f" providerId="ADAL" clId="{B99A90B8-7D29-4456-AFD4-0F3DBA13A596}" dt="2024-08-27T11:59:17.232" v="47422"/>
          <ac:spMkLst>
            <pc:docMk/>
            <pc:sldMk cId="0" sldId="274"/>
            <ac:spMk id="258" creationId="{1F50A1B1-66F2-B97B-F048-89B003B8F787}"/>
          </ac:spMkLst>
        </pc:spChg>
        <pc:spChg chg="add del mod modVis">
          <ac:chgData name="vonWaldow, Ulrich" userId="c64b3fe1-2fbf-4408-adc4-30add62e991f" providerId="ADAL" clId="{B99A90B8-7D29-4456-AFD4-0F3DBA13A596}" dt="2024-08-27T11:59:17.443" v="47534"/>
          <ac:spMkLst>
            <pc:docMk/>
            <pc:sldMk cId="0" sldId="274"/>
            <ac:spMk id="260" creationId="{8F6757A7-8C10-9E2A-D242-F13F221EDC64}"/>
          </ac:spMkLst>
        </pc:spChg>
        <pc:spChg chg="add del mod modVis">
          <ac:chgData name="vonWaldow, Ulrich" userId="c64b3fe1-2fbf-4408-adc4-30add62e991f" providerId="ADAL" clId="{B99A90B8-7D29-4456-AFD4-0F3DBA13A596}" dt="2024-08-27T12:00:30.877" v="47675"/>
          <ac:spMkLst>
            <pc:docMk/>
            <pc:sldMk cId="0" sldId="274"/>
            <ac:spMk id="262" creationId="{DBF43AC2-E09A-218E-09F9-7A7E714C9E69}"/>
          </ac:spMkLst>
        </pc:spChg>
        <pc:spChg chg="add del mod modVis">
          <ac:chgData name="vonWaldow, Ulrich" userId="c64b3fe1-2fbf-4408-adc4-30add62e991f" providerId="ADAL" clId="{B99A90B8-7D29-4456-AFD4-0F3DBA13A596}" dt="2024-08-27T12:00:31.005" v="47787"/>
          <ac:spMkLst>
            <pc:docMk/>
            <pc:sldMk cId="0" sldId="274"/>
            <ac:spMk id="264" creationId="{6A7F941E-43B3-08E5-D0CA-215D7F8678AB}"/>
          </ac:spMkLst>
        </pc:spChg>
        <pc:spChg chg="add del mod modVis">
          <ac:chgData name="vonWaldow, Ulrich" userId="c64b3fe1-2fbf-4408-adc4-30add62e991f" providerId="ADAL" clId="{B99A90B8-7D29-4456-AFD4-0F3DBA13A596}" dt="2024-08-27T12:01:04.093" v="47928"/>
          <ac:spMkLst>
            <pc:docMk/>
            <pc:sldMk cId="0" sldId="274"/>
            <ac:spMk id="266" creationId="{5A252E4B-35D6-9079-75ED-4B38969D175B}"/>
          </ac:spMkLst>
        </pc:spChg>
        <pc:spChg chg="add del mod modVis">
          <ac:chgData name="vonWaldow, Ulrich" userId="c64b3fe1-2fbf-4408-adc4-30add62e991f" providerId="ADAL" clId="{B99A90B8-7D29-4456-AFD4-0F3DBA13A596}" dt="2024-08-27T12:01:04.512" v="48040"/>
          <ac:spMkLst>
            <pc:docMk/>
            <pc:sldMk cId="0" sldId="274"/>
            <ac:spMk id="268" creationId="{D972F0BD-9313-393C-A6FC-0BB71DFF23C9}"/>
          </ac:spMkLst>
        </pc:spChg>
        <pc:spChg chg="add del mod modVis">
          <ac:chgData name="vonWaldow, Ulrich" userId="c64b3fe1-2fbf-4408-adc4-30add62e991f" providerId="ADAL" clId="{B99A90B8-7D29-4456-AFD4-0F3DBA13A596}" dt="2024-08-27T12:01:10.170" v="48181"/>
          <ac:spMkLst>
            <pc:docMk/>
            <pc:sldMk cId="0" sldId="274"/>
            <ac:spMk id="270" creationId="{B05B6638-D1FD-C73F-9163-2D49D6D1F92A}"/>
          </ac:spMkLst>
        </pc:spChg>
        <pc:spChg chg="add del mod modVis">
          <ac:chgData name="vonWaldow, Ulrich" userId="c64b3fe1-2fbf-4408-adc4-30add62e991f" providerId="ADAL" clId="{B99A90B8-7D29-4456-AFD4-0F3DBA13A596}" dt="2024-08-27T12:01:10.545" v="48293"/>
          <ac:spMkLst>
            <pc:docMk/>
            <pc:sldMk cId="0" sldId="274"/>
            <ac:spMk id="272" creationId="{E5FC594C-3AE5-68EE-ECC6-B7C3804188C5}"/>
          </ac:spMkLst>
        </pc:spChg>
        <pc:spChg chg="add del mod modVis">
          <ac:chgData name="vonWaldow, Ulrich" userId="c64b3fe1-2fbf-4408-adc4-30add62e991f" providerId="ADAL" clId="{B99A90B8-7D29-4456-AFD4-0F3DBA13A596}" dt="2024-08-27T12:04:00.742" v="48477"/>
          <ac:spMkLst>
            <pc:docMk/>
            <pc:sldMk cId="0" sldId="274"/>
            <ac:spMk id="274" creationId="{359983E9-5C9F-7822-F2DB-E021F6931C2A}"/>
          </ac:spMkLst>
        </pc:spChg>
        <pc:spChg chg="add del mod modVis">
          <ac:chgData name="vonWaldow, Ulrich" userId="c64b3fe1-2fbf-4408-adc4-30add62e991f" providerId="ADAL" clId="{B99A90B8-7D29-4456-AFD4-0F3DBA13A596}" dt="2024-08-27T12:04:01.053" v="48589"/>
          <ac:spMkLst>
            <pc:docMk/>
            <pc:sldMk cId="0" sldId="274"/>
            <ac:spMk id="276" creationId="{10E58036-0202-AAFE-4DCC-45B0E997D6B7}"/>
          </ac:spMkLst>
        </pc:spChg>
        <pc:spChg chg="add del mod modVis">
          <ac:chgData name="vonWaldow, Ulrich" userId="c64b3fe1-2fbf-4408-adc4-30add62e991f" providerId="ADAL" clId="{B99A90B8-7D29-4456-AFD4-0F3DBA13A596}" dt="2024-08-27T12:04:02.511" v="48802"/>
          <ac:spMkLst>
            <pc:docMk/>
            <pc:sldMk cId="0" sldId="274"/>
            <ac:spMk id="278" creationId="{21120C66-C70D-8E55-3961-3C5C99ADE578}"/>
          </ac:spMkLst>
        </pc:spChg>
        <pc:spChg chg="add del mod modVis">
          <ac:chgData name="vonWaldow, Ulrich" userId="c64b3fe1-2fbf-4408-adc4-30add62e991f" providerId="ADAL" clId="{B99A90B8-7D29-4456-AFD4-0F3DBA13A596}" dt="2024-08-27T12:04:02.966" v="48984"/>
          <ac:spMkLst>
            <pc:docMk/>
            <pc:sldMk cId="0" sldId="274"/>
            <ac:spMk id="283" creationId="{A8B31410-3795-D59F-2718-446C7C0C2B2E}"/>
          </ac:spMkLst>
        </pc:spChg>
        <pc:spChg chg="add del mod modVis">
          <ac:chgData name="vonWaldow, Ulrich" userId="c64b3fe1-2fbf-4408-adc4-30add62e991f" providerId="ADAL" clId="{B99A90B8-7D29-4456-AFD4-0F3DBA13A596}" dt="2024-08-27T12:04:05.479" v="49137"/>
          <ac:spMkLst>
            <pc:docMk/>
            <pc:sldMk cId="0" sldId="274"/>
            <ac:spMk id="286" creationId="{25145E5C-38F7-E582-7A24-D87FADC86D8E}"/>
          </ac:spMkLst>
        </pc:spChg>
        <pc:spChg chg="add del mod modVis">
          <ac:chgData name="vonWaldow, Ulrich" userId="c64b3fe1-2fbf-4408-adc4-30add62e991f" providerId="ADAL" clId="{B99A90B8-7D29-4456-AFD4-0F3DBA13A596}" dt="2024-08-27T12:04:05.993" v="49335"/>
          <ac:spMkLst>
            <pc:docMk/>
            <pc:sldMk cId="0" sldId="274"/>
            <ac:spMk id="288" creationId="{05564E34-B1AC-ACDB-F7B0-4193222429AE}"/>
          </ac:spMkLst>
        </pc:spChg>
        <pc:spChg chg="add del mod modVis">
          <ac:chgData name="vonWaldow, Ulrich" userId="c64b3fe1-2fbf-4408-adc4-30add62e991f" providerId="ADAL" clId="{B99A90B8-7D29-4456-AFD4-0F3DBA13A596}" dt="2024-08-27T12:04:19.045" v="49505"/>
          <ac:spMkLst>
            <pc:docMk/>
            <pc:sldMk cId="0" sldId="274"/>
            <ac:spMk id="291" creationId="{0225CA02-107E-A9BA-30DD-325421680D78}"/>
          </ac:spMkLst>
        </pc:spChg>
        <pc:spChg chg="add del mod modVis">
          <ac:chgData name="vonWaldow, Ulrich" userId="c64b3fe1-2fbf-4408-adc4-30add62e991f" providerId="ADAL" clId="{B99A90B8-7D29-4456-AFD4-0F3DBA13A596}" dt="2024-08-27T12:04:19.391" v="49714"/>
          <ac:spMkLst>
            <pc:docMk/>
            <pc:sldMk cId="0" sldId="274"/>
            <ac:spMk id="293" creationId="{A77AD11B-5143-4B3E-847C-0789A095BFB3}"/>
          </ac:spMkLst>
        </pc:spChg>
        <pc:spChg chg="add del mod modVis">
          <ac:chgData name="vonWaldow, Ulrich" userId="c64b3fe1-2fbf-4408-adc4-30add62e991f" providerId="ADAL" clId="{B99A90B8-7D29-4456-AFD4-0F3DBA13A596}" dt="2024-08-27T12:04:24.157" v="49893"/>
          <ac:spMkLst>
            <pc:docMk/>
            <pc:sldMk cId="0" sldId="274"/>
            <ac:spMk id="296" creationId="{E2CE2453-9363-3025-C1A3-7B9E71C57708}"/>
          </ac:spMkLst>
        </pc:spChg>
        <pc:spChg chg="add del mod modVis">
          <ac:chgData name="vonWaldow, Ulrich" userId="c64b3fe1-2fbf-4408-adc4-30add62e991f" providerId="ADAL" clId="{B99A90B8-7D29-4456-AFD4-0F3DBA13A596}" dt="2024-08-27T12:04:24.550" v="50070"/>
          <ac:spMkLst>
            <pc:docMk/>
            <pc:sldMk cId="0" sldId="274"/>
            <ac:spMk id="298" creationId="{3E32E566-E348-B9CC-B502-B30D45ABAEBF}"/>
          </ac:spMkLst>
        </pc:spChg>
        <pc:spChg chg="add del mod modVis">
          <ac:chgData name="vonWaldow, Ulrich" userId="c64b3fe1-2fbf-4408-adc4-30add62e991f" providerId="ADAL" clId="{B99A90B8-7D29-4456-AFD4-0F3DBA13A596}" dt="2024-08-27T12:04:28.269" v="50198"/>
          <ac:spMkLst>
            <pc:docMk/>
            <pc:sldMk cId="0" sldId="274"/>
            <ac:spMk id="300" creationId="{AEB59A8D-24DE-9307-B837-AE4E3A6E7C3D}"/>
          </ac:spMkLst>
        </pc:spChg>
        <pc:spChg chg="add del mod modVis">
          <ac:chgData name="vonWaldow, Ulrich" userId="c64b3fe1-2fbf-4408-adc4-30add62e991f" providerId="ADAL" clId="{B99A90B8-7D29-4456-AFD4-0F3DBA13A596}" dt="2024-08-27T12:04:28.694" v="50335"/>
          <ac:spMkLst>
            <pc:docMk/>
            <pc:sldMk cId="0" sldId="274"/>
            <ac:spMk id="302" creationId="{CB42F7E7-CEEF-BC7E-AFDA-48BF2D065DB2}"/>
          </ac:spMkLst>
        </pc:spChg>
        <pc:spChg chg="add del mod modVis">
          <ac:chgData name="vonWaldow, Ulrich" userId="c64b3fe1-2fbf-4408-adc4-30add62e991f" providerId="ADAL" clId="{B99A90B8-7D29-4456-AFD4-0F3DBA13A596}" dt="2024-08-27T12:04:34.558" v="50435"/>
          <ac:spMkLst>
            <pc:docMk/>
            <pc:sldMk cId="0" sldId="274"/>
            <ac:spMk id="305" creationId="{99C6ECC5-B004-DD7E-FAAF-756D6096C61A}"/>
          </ac:spMkLst>
        </pc:spChg>
        <pc:spChg chg="add del mod modVis">
          <ac:chgData name="vonWaldow, Ulrich" userId="c64b3fe1-2fbf-4408-adc4-30add62e991f" providerId="ADAL" clId="{B99A90B8-7D29-4456-AFD4-0F3DBA13A596}" dt="2024-08-27T12:04:39.110" v="50615"/>
          <ac:spMkLst>
            <pc:docMk/>
            <pc:sldMk cId="0" sldId="274"/>
            <ac:spMk id="307" creationId="{526FD8E5-6D15-8D22-6A9B-FFE58BACBCBD}"/>
          </ac:spMkLst>
        </pc:spChg>
        <pc:spChg chg="add del mod modVis">
          <ac:chgData name="vonWaldow, Ulrich" userId="c64b3fe1-2fbf-4408-adc4-30add62e991f" providerId="ADAL" clId="{B99A90B8-7D29-4456-AFD4-0F3DBA13A596}" dt="2024-08-27T12:04:54.901" v="50775"/>
          <ac:spMkLst>
            <pc:docMk/>
            <pc:sldMk cId="0" sldId="274"/>
            <ac:spMk id="310" creationId="{C7F4E367-0CBA-CABD-1673-4D9DD9BB0464}"/>
          </ac:spMkLst>
        </pc:spChg>
        <pc:spChg chg="add del mod modVis">
          <ac:chgData name="vonWaldow, Ulrich" userId="c64b3fe1-2fbf-4408-adc4-30add62e991f" providerId="ADAL" clId="{B99A90B8-7D29-4456-AFD4-0F3DBA13A596}" dt="2024-08-27T12:05:07.947" v="50867"/>
          <ac:spMkLst>
            <pc:docMk/>
            <pc:sldMk cId="0" sldId="274"/>
            <ac:spMk id="312" creationId="{15A6CEDC-1C8E-9044-A9C2-78A05875D8F7}"/>
          </ac:spMkLst>
        </pc:spChg>
        <pc:spChg chg="add del mod modVis">
          <ac:chgData name="vonWaldow, Ulrich" userId="c64b3fe1-2fbf-4408-adc4-30add62e991f" providerId="ADAL" clId="{B99A90B8-7D29-4456-AFD4-0F3DBA13A596}" dt="2024-08-27T12:05:25.534" v="50957"/>
          <ac:spMkLst>
            <pc:docMk/>
            <pc:sldMk cId="0" sldId="274"/>
            <ac:spMk id="314" creationId="{92E3DD9E-5E03-B32A-F9C8-4B78EC3D7DE5}"/>
          </ac:spMkLst>
        </pc:spChg>
        <pc:spChg chg="add del mod modVis">
          <ac:chgData name="vonWaldow, Ulrich" userId="c64b3fe1-2fbf-4408-adc4-30add62e991f" providerId="ADAL" clId="{B99A90B8-7D29-4456-AFD4-0F3DBA13A596}" dt="2024-08-27T12:05:33.557" v="51109"/>
          <ac:spMkLst>
            <pc:docMk/>
            <pc:sldMk cId="0" sldId="274"/>
            <ac:spMk id="316" creationId="{CD9DB0BB-FBC6-2DE5-8E01-18D3B626C8E6}"/>
          </ac:spMkLst>
        </pc:spChg>
        <pc:spChg chg="add del mod modVis">
          <ac:chgData name="vonWaldow, Ulrich" userId="c64b3fe1-2fbf-4408-adc4-30add62e991f" providerId="ADAL" clId="{B99A90B8-7D29-4456-AFD4-0F3DBA13A596}" dt="2024-08-27T12:05:47.621" v="51356"/>
          <ac:spMkLst>
            <pc:docMk/>
            <pc:sldMk cId="0" sldId="274"/>
            <ac:spMk id="318" creationId="{21645E27-4FFE-767A-BC92-6D012DDB1093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3"/>
          <ac:spMkLst>
            <pc:docMk/>
            <pc:sldMk cId="0" sldId="274"/>
            <ac:spMk id="3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4"/>
          <ac:spMkLst>
            <pc:docMk/>
            <pc:sldMk cId="0" sldId="274"/>
            <ac:spMk id="320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06:18.573" v="51509"/>
          <ac:spMkLst>
            <pc:docMk/>
            <pc:sldMk cId="0" sldId="274"/>
            <ac:spMk id="322" creationId="{7D3EB58D-D237-E5CF-DC35-FA1272525F84}"/>
          </ac:spMkLst>
        </pc:spChg>
        <pc:spChg chg="add del mod modVis">
          <ac:chgData name="vonWaldow, Ulrich" userId="c64b3fe1-2fbf-4408-adc4-30add62e991f" providerId="ADAL" clId="{B99A90B8-7D29-4456-AFD4-0F3DBA13A596}" dt="2024-08-27T12:06:25.293" v="51638"/>
          <ac:spMkLst>
            <pc:docMk/>
            <pc:sldMk cId="0" sldId="274"/>
            <ac:spMk id="324" creationId="{E9019D83-2729-AAFF-68FB-D3D5CD16B7B8}"/>
          </ac:spMkLst>
        </pc:spChg>
        <pc:spChg chg="add del mod modVis">
          <ac:chgData name="vonWaldow, Ulrich" userId="c64b3fe1-2fbf-4408-adc4-30add62e991f" providerId="ADAL" clId="{B99A90B8-7D29-4456-AFD4-0F3DBA13A596}" dt="2024-08-27T12:06:35.093" v="51737"/>
          <ac:spMkLst>
            <pc:docMk/>
            <pc:sldMk cId="0" sldId="274"/>
            <ac:spMk id="326" creationId="{494A488A-61F7-BA98-EBBB-01573E67C068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5"/>
          <ac:spMkLst>
            <pc:docMk/>
            <pc:sldMk cId="0" sldId="274"/>
            <ac:spMk id="328" creationId="{AA251F9E-2FA6-8F08-82AB-25A6ACD0747C}"/>
          </ac:spMkLst>
        </pc:spChg>
        <pc:spChg chg="add del mod modVis">
          <ac:chgData name="vonWaldow, Ulrich" userId="c64b3fe1-2fbf-4408-adc4-30add62e991f" providerId="ADAL" clId="{B99A90B8-7D29-4456-AFD4-0F3DBA13A596}" dt="2024-08-27T12:06:41.664" v="51872"/>
          <ac:spMkLst>
            <pc:docMk/>
            <pc:sldMk cId="0" sldId="274"/>
            <ac:spMk id="329" creationId="{5EBA6AE3-4B79-BECB-A0E7-C4B26158C0AD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6"/>
          <ac:spMkLst>
            <pc:docMk/>
            <pc:sldMk cId="0" sldId="274"/>
            <ac:spMk id="331" creationId="{151B2E43-A550-E309-9CED-32575C232005}"/>
          </ac:spMkLst>
        </pc:spChg>
        <pc:spChg chg="add del mod modVis">
          <ac:chgData name="vonWaldow, Ulrich" userId="c64b3fe1-2fbf-4408-adc4-30add62e991f" providerId="ADAL" clId="{B99A90B8-7D29-4456-AFD4-0F3DBA13A596}" dt="2024-08-27T12:06:46.820" v="52011"/>
          <ac:spMkLst>
            <pc:docMk/>
            <pc:sldMk cId="0" sldId="274"/>
            <ac:spMk id="332" creationId="{13E85AC8-2975-A37B-F90E-0667A1C0158E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7"/>
          <ac:spMkLst>
            <pc:docMk/>
            <pc:sldMk cId="0" sldId="274"/>
            <ac:spMk id="334" creationId="{E82F695A-D9EC-FC68-68B3-896FC15C0D15}"/>
          </ac:spMkLst>
        </pc:spChg>
        <pc:spChg chg="add del mod modVis">
          <ac:chgData name="vonWaldow, Ulrich" userId="c64b3fe1-2fbf-4408-adc4-30add62e991f" providerId="ADAL" clId="{B99A90B8-7D29-4456-AFD4-0F3DBA13A596}" dt="2024-08-27T12:06:51.730" v="52156"/>
          <ac:spMkLst>
            <pc:docMk/>
            <pc:sldMk cId="0" sldId="274"/>
            <ac:spMk id="335" creationId="{C2590E71-6E9D-79FF-344E-A074F4D7C4CD}"/>
          </ac:spMkLst>
        </pc:spChg>
        <pc:spChg chg="add del mod modVis">
          <ac:chgData name="vonWaldow, Ulrich" userId="c64b3fe1-2fbf-4408-adc4-30add62e991f" providerId="ADAL" clId="{B99A90B8-7D29-4456-AFD4-0F3DBA13A596}" dt="2024-08-27T12:06:54.031" v="52269"/>
          <ac:spMkLst>
            <pc:docMk/>
            <pc:sldMk cId="0" sldId="274"/>
            <ac:spMk id="337" creationId="{6519D83F-9164-0796-F4D4-F2EA5A2E4C76}"/>
          </ac:spMkLst>
        </pc:spChg>
        <pc:spChg chg="add del mod modVis">
          <ac:chgData name="vonWaldow, Ulrich" userId="c64b3fe1-2fbf-4408-adc4-30add62e991f" providerId="ADAL" clId="{B99A90B8-7D29-4456-AFD4-0F3DBA13A596}" dt="2024-08-27T12:07:03.289" v="52395"/>
          <ac:spMkLst>
            <pc:docMk/>
            <pc:sldMk cId="0" sldId="274"/>
            <ac:spMk id="339" creationId="{9FB758FB-B94C-F380-7075-86370EFC4002}"/>
          </ac:spMkLst>
        </pc:spChg>
        <pc:spChg chg="add del mod modVis">
          <ac:chgData name="vonWaldow, Ulrich" userId="c64b3fe1-2fbf-4408-adc4-30add62e991f" providerId="ADAL" clId="{B99A90B8-7D29-4456-AFD4-0F3DBA13A596}" dt="2024-08-27T12:07:06.925" v="52560"/>
          <ac:spMkLst>
            <pc:docMk/>
            <pc:sldMk cId="0" sldId="274"/>
            <ac:spMk id="341" creationId="{6DD32F34-0760-60B2-7F42-46D18D19C361}"/>
          </ac:spMkLst>
        </pc:spChg>
        <pc:spChg chg="add del mod modVis">
          <ac:chgData name="vonWaldow, Ulrich" userId="c64b3fe1-2fbf-4408-adc4-30add62e991f" providerId="ADAL" clId="{B99A90B8-7D29-4456-AFD4-0F3DBA13A596}" dt="2024-08-27T12:07:08.816" v="52665"/>
          <ac:spMkLst>
            <pc:docMk/>
            <pc:sldMk cId="0" sldId="274"/>
            <ac:spMk id="343" creationId="{609D30C4-06FF-9BF4-C845-C394AD1F58BB}"/>
          </ac:spMkLst>
        </pc:spChg>
        <pc:spChg chg="add del mod modVis">
          <ac:chgData name="vonWaldow, Ulrich" userId="c64b3fe1-2fbf-4408-adc4-30add62e991f" providerId="ADAL" clId="{B99A90B8-7D29-4456-AFD4-0F3DBA13A596}" dt="2024-08-27T12:07:10.533" v="52990"/>
          <ac:spMkLst>
            <pc:docMk/>
            <pc:sldMk cId="0" sldId="274"/>
            <ac:spMk id="345" creationId="{346AF848-212F-B6CB-F346-04841755A0B3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7"/>
          <ac:spMkLst>
            <pc:docMk/>
            <pc:sldMk cId="0" sldId="274"/>
            <ac:spMk id="34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8"/>
          <ac:spMkLst>
            <pc:docMk/>
            <pc:sldMk cId="0" sldId="274"/>
            <ac:spMk id="34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9"/>
          <ac:spMkLst>
            <pc:docMk/>
            <pc:sldMk cId="0" sldId="274"/>
            <ac:spMk id="34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7:13.536" v="53050"/>
          <ac:spMkLst>
            <pc:docMk/>
            <pc:sldMk cId="0" sldId="274"/>
            <ac:spMk id="34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07:13.614" v="53123"/>
          <ac:spMkLst>
            <pc:docMk/>
            <pc:sldMk cId="0" sldId="274"/>
            <ac:spMk id="351" creationId="{733002F9-86C8-4D17-1C0E-FA7BA5BFF4C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20"/>
          <ac:spMkLst>
            <pc:docMk/>
            <pc:sldMk cId="0" sldId="274"/>
            <ac:spMk id="353" creationId="{973695A3-7A7F-214E-442E-35BF17836334}"/>
          </ac:spMkLst>
        </pc:spChg>
        <pc:spChg chg="add del mod modVis">
          <ac:chgData name="vonWaldow, Ulrich" userId="c64b3fe1-2fbf-4408-adc4-30add62e991f" providerId="ADAL" clId="{B99A90B8-7D29-4456-AFD4-0F3DBA13A596}" dt="2024-08-27T12:07:15.633" v="53258"/>
          <ac:spMkLst>
            <pc:docMk/>
            <pc:sldMk cId="0" sldId="274"/>
            <ac:spMk id="354" creationId="{D752EDD3-7143-B18F-37EE-09356A1E84F5}"/>
          </ac:spMkLst>
        </pc:spChg>
        <pc:spChg chg="add del mod modVis">
          <ac:chgData name="vonWaldow, Ulrich" userId="c64b3fe1-2fbf-4408-adc4-30add62e991f" providerId="ADAL" clId="{B99A90B8-7D29-4456-AFD4-0F3DBA13A596}" dt="2024-08-27T12:07:17.334" v="53388"/>
          <ac:spMkLst>
            <pc:docMk/>
            <pc:sldMk cId="0" sldId="274"/>
            <ac:spMk id="356" creationId="{78F38A2D-477C-838A-570A-7A9CD917068B}"/>
          </ac:spMkLst>
        </pc:spChg>
        <pc:spChg chg="add del mod modVis">
          <ac:chgData name="vonWaldow, Ulrich" userId="c64b3fe1-2fbf-4408-adc4-30add62e991f" providerId="ADAL" clId="{B99A90B8-7D29-4456-AFD4-0F3DBA13A596}" dt="2024-08-27T12:07:19.336" v="53518"/>
          <ac:spMkLst>
            <pc:docMk/>
            <pc:sldMk cId="0" sldId="274"/>
            <ac:spMk id="358" creationId="{E67E5789-65F1-5D4A-CEB0-2512AABE5917}"/>
          </ac:spMkLst>
        </pc:spChg>
        <pc:spChg chg="add del mod modVis">
          <ac:chgData name="vonWaldow, Ulrich" userId="c64b3fe1-2fbf-4408-adc4-30add62e991f" providerId="ADAL" clId="{B99A90B8-7D29-4456-AFD4-0F3DBA13A596}" dt="2024-08-27T12:07:23.166" v="53648"/>
          <ac:spMkLst>
            <pc:docMk/>
            <pc:sldMk cId="0" sldId="274"/>
            <ac:spMk id="360" creationId="{0A7E3209-06CB-0819-7BDE-7547AC24D199}"/>
          </ac:spMkLst>
        </pc:spChg>
        <pc:spChg chg="add del mod modVis">
          <ac:chgData name="vonWaldow, Ulrich" userId="c64b3fe1-2fbf-4408-adc4-30add62e991f" providerId="ADAL" clId="{B99A90B8-7D29-4456-AFD4-0F3DBA13A596}" dt="2024-08-27T12:07:28.332" v="53778"/>
          <ac:spMkLst>
            <pc:docMk/>
            <pc:sldMk cId="0" sldId="274"/>
            <ac:spMk id="362" creationId="{0C2FA398-549A-4B95-6FF8-C576A0AE5D31}"/>
          </ac:spMkLst>
        </pc:spChg>
        <pc:spChg chg="add del mod modVis">
          <ac:chgData name="vonWaldow, Ulrich" userId="c64b3fe1-2fbf-4408-adc4-30add62e991f" providerId="ADAL" clId="{B99A90B8-7D29-4456-AFD4-0F3DBA13A596}" dt="2024-08-27T12:07:32.423" v="53925"/>
          <ac:spMkLst>
            <pc:docMk/>
            <pc:sldMk cId="0" sldId="274"/>
            <ac:spMk id="364" creationId="{6B0BED8D-7B11-0501-0305-17233650C59A}"/>
          </ac:spMkLst>
        </pc:spChg>
        <pc:spChg chg="add del mod modVis">
          <ac:chgData name="vonWaldow, Ulrich" userId="c64b3fe1-2fbf-4408-adc4-30add62e991f" providerId="ADAL" clId="{B99A90B8-7D29-4456-AFD4-0F3DBA13A596}" dt="2024-08-27T12:07:35.006" v="54044"/>
          <ac:spMkLst>
            <pc:docMk/>
            <pc:sldMk cId="0" sldId="274"/>
            <ac:spMk id="366" creationId="{54167279-255D-4533-0134-0E114DE473DB}"/>
          </ac:spMkLst>
        </pc:spChg>
        <pc:spChg chg="add del mod modVis">
          <ac:chgData name="vonWaldow, Ulrich" userId="c64b3fe1-2fbf-4408-adc4-30add62e991f" providerId="ADAL" clId="{B99A90B8-7D29-4456-AFD4-0F3DBA13A596}" dt="2024-08-27T12:07:37.423" v="54164"/>
          <ac:spMkLst>
            <pc:docMk/>
            <pc:sldMk cId="0" sldId="274"/>
            <ac:spMk id="368" creationId="{D23394F6-4381-E86F-A16B-2B61E924CB84}"/>
          </ac:spMkLst>
        </pc:spChg>
        <pc:spChg chg="add del mod modVis">
          <ac:chgData name="vonWaldow, Ulrich" userId="c64b3fe1-2fbf-4408-adc4-30add62e991f" providerId="ADAL" clId="{B99A90B8-7D29-4456-AFD4-0F3DBA13A596}" dt="2024-08-27T12:07:43.376" v="54272"/>
          <ac:spMkLst>
            <pc:docMk/>
            <pc:sldMk cId="0" sldId="274"/>
            <ac:spMk id="370" creationId="{0CB09358-7D4D-47F4-B2A7-013C785505B9}"/>
          </ac:spMkLst>
        </pc:spChg>
        <pc:spChg chg="add del mod replST">
          <ac:chgData name="vonWaldow, Ulrich" userId="c64b3fe1-2fbf-4408-adc4-30add62e991f" providerId="ADAL" clId="{B99A90B8-7D29-4456-AFD4-0F3DBA13A596}" dt="2024-08-27T12:08:30.741" v="55660"/>
          <ac:spMkLst>
            <pc:docMk/>
            <pc:sldMk cId="0" sldId="274"/>
            <ac:spMk id="372" creationId="{D850E112-25C5-D730-1136-63B3A690CA39}"/>
          </ac:spMkLst>
        </pc:spChg>
        <pc:spChg chg="add del mod modVis">
          <ac:chgData name="vonWaldow, Ulrich" userId="c64b3fe1-2fbf-4408-adc4-30add62e991f" providerId="ADAL" clId="{B99A90B8-7D29-4456-AFD4-0F3DBA13A596}" dt="2024-08-27T12:07:47.024" v="54406"/>
          <ac:spMkLst>
            <pc:docMk/>
            <pc:sldMk cId="0" sldId="274"/>
            <ac:spMk id="373" creationId="{F802985A-B197-70CD-8DB1-D7DACFFE0334}"/>
          </ac:spMkLst>
        </pc:spChg>
        <pc:spChg chg="add del mod replST">
          <ac:chgData name="vonWaldow, Ulrich" userId="c64b3fe1-2fbf-4408-adc4-30add62e991f" providerId="ADAL" clId="{B99A90B8-7D29-4456-AFD4-0F3DBA13A596}" dt="2024-08-27T12:08:29.447" v="55555"/>
          <ac:spMkLst>
            <pc:docMk/>
            <pc:sldMk cId="0" sldId="274"/>
            <ac:spMk id="375" creationId="{6620E8A9-0289-CF8C-E63F-B303E6B56FE3}"/>
          </ac:spMkLst>
        </pc:spChg>
        <pc:spChg chg="add del mod modVis">
          <ac:chgData name="vonWaldow, Ulrich" userId="c64b3fe1-2fbf-4408-adc4-30add62e991f" providerId="ADAL" clId="{B99A90B8-7D29-4456-AFD4-0F3DBA13A596}" dt="2024-08-27T12:07:55.606" v="54560"/>
          <ac:spMkLst>
            <pc:docMk/>
            <pc:sldMk cId="0" sldId="274"/>
            <ac:spMk id="376" creationId="{06D290BD-A9C9-9011-380E-91D2D66DC911}"/>
          </ac:spMkLst>
        </pc:spChg>
        <pc:spChg chg="add del mod modVis">
          <ac:chgData name="vonWaldow, Ulrich" userId="c64b3fe1-2fbf-4408-adc4-30add62e991f" providerId="ADAL" clId="{B99A90B8-7D29-4456-AFD4-0F3DBA13A596}" dt="2024-08-27T12:08:06.166" v="54684"/>
          <ac:spMkLst>
            <pc:docMk/>
            <pc:sldMk cId="0" sldId="274"/>
            <ac:spMk id="378" creationId="{7AFA9676-8EBF-B65B-AC6C-227C1AB2C2D3}"/>
          </ac:spMkLst>
        </pc:spChg>
        <pc:spChg chg="add del mod modVis">
          <ac:chgData name="vonWaldow, Ulrich" userId="c64b3fe1-2fbf-4408-adc4-30add62e991f" providerId="ADAL" clId="{B99A90B8-7D29-4456-AFD4-0F3DBA13A596}" dt="2024-08-27T12:08:08.613" v="54808"/>
          <ac:spMkLst>
            <pc:docMk/>
            <pc:sldMk cId="0" sldId="274"/>
            <ac:spMk id="380" creationId="{23A582E9-60E6-7CF9-BDAF-766825534F0B}"/>
          </ac:spMkLst>
        </pc:spChg>
        <pc:spChg chg="add del mod modVis">
          <ac:chgData name="vonWaldow, Ulrich" userId="c64b3fe1-2fbf-4408-adc4-30add62e991f" providerId="ADAL" clId="{B99A90B8-7D29-4456-AFD4-0F3DBA13A596}" dt="2024-08-27T12:08:10.724" v="54932"/>
          <ac:spMkLst>
            <pc:docMk/>
            <pc:sldMk cId="0" sldId="274"/>
            <ac:spMk id="382" creationId="{74F1C8DC-80E8-1940-2299-ECF4EF1AEAA9}"/>
          </ac:spMkLst>
        </pc:spChg>
        <pc:spChg chg="add del mod modVis">
          <ac:chgData name="vonWaldow, Ulrich" userId="c64b3fe1-2fbf-4408-adc4-30add62e991f" providerId="ADAL" clId="{B99A90B8-7D29-4456-AFD4-0F3DBA13A596}" dt="2024-08-27T12:08:13.295" v="55056"/>
          <ac:spMkLst>
            <pc:docMk/>
            <pc:sldMk cId="0" sldId="274"/>
            <ac:spMk id="384" creationId="{DEE5AD94-62C7-2580-8C7A-FBD007D1A743}"/>
          </ac:spMkLst>
        </pc:spChg>
        <pc:spChg chg="add del mod modVis">
          <ac:chgData name="vonWaldow, Ulrich" userId="c64b3fe1-2fbf-4408-adc4-30add62e991f" providerId="ADAL" clId="{B99A90B8-7D29-4456-AFD4-0F3DBA13A596}" dt="2024-08-27T12:08:16.033" v="55180"/>
          <ac:spMkLst>
            <pc:docMk/>
            <pc:sldMk cId="0" sldId="274"/>
            <ac:spMk id="386" creationId="{D7976EB7-64A0-66F6-103A-0A893795C15E}"/>
          </ac:spMkLst>
        </pc:spChg>
        <pc:spChg chg="add del mod modVis">
          <ac:chgData name="vonWaldow, Ulrich" userId="c64b3fe1-2fbf-4408-adc4-30add62e991f" providerId="ADAL" clId="{B99A90B8-7D29-4456-AFD4-0F3DBA13A596}" dt="2024-08-27T12:08:20.251" v="55304"/>
          <ac:spMkLst>
            <pc:docMk/>
            <pc:sldMk cId="0" sldId="274"/>
            <ac:spMk id="388" creationId="{92C8D8E1-9B83-C38C-CEFB-4BD6800605A4}"/>
          </ac:spMkLst>
        </pc:spChg>
        <pc:spChg chg="add del mod modVis">
          <ac:chgData name="vonWaldow, Ulrich" userId="c64b3fe1-2fbf-4408-adc4-30add62e991f" providerId="ADAL" clId="{B99A90B8-7D29-4456-AFD4-0F3DBA13A596}" dt="2024-08-27T12:08:22.699" v="55428"/>
          <ac:spMkLst>
            <pc:docMk/>
            <pc:sldMk cId="0" sldId="274"/>
            <ac:spMk id="390" creationId="{DCAF9DBC-7EB1-F101-80E1-2DA12A2CB817}"/>
          </ac:spMkLst>
        </pc:spChg>
        <pc:spChg chg="add del mod modVis">
          <ac:chgData name="vonWaldow, Ulrich" userId="c64b3fe1-2fbf-4408-adc4-30add62e991f" providerId="ADAL" clId="{B99A90B8-7D29-4456-AFD4-0F3DBA13A596}" dt="2024-08-27T12:08:25.010" v="55552"/>
          <ac:spMkLst>
            <pc:docMk/>
            <pc:sldMk cId="0" sldId="274"/>
            <ac:spMk id="392" creationId="{3BE9F53D-A876-A93A-03C5-77A9C14A43BE}"/>
          </ac:spMkLst>
        </pc:spChg>
        <pc:spChg chg="add del mod modVis">
          <ac:chgData name="vonWaldow, Ulrich" userId="c64b3fe1-2fbf-4408-adc4-30add62e991f" providerId="ADAL" clId="{B99A90B8-7D29-4456-AFD4-0F3DBA13A596}" dt="2024-08-27T12:08:29.598" v="55657"/>
          <ac:spMkLst>
            <pc:docMk/>
            <pc:sldMk cId="0" sldId="274"/>
            <ac:spMk id="394" creationId="{7D72B229-0561-4BF7-A1D0-C2C7B3CAB504}"/>
          </ac:spMkLst>
        </pc:spChg>
        <pc:spChg chg="add del mod modVis">
          <ac:chgData name="vonWaldow, Ulrich" userId="c64b3fe1-2fbf-4408-adc4-30add62e991f" providerId="ADAL" clId="{B99A90B8-7D29-4456-AFD4-0F3DBA13A596}" dt="2024-08-27T12:08:30.880" v="55760"/>
          <ac:spMkLst>
            <pc:docMk/>
            <pc:sldMk cId="0" sldId="274"/>
            <ac:spMk id="396" creationId="{EC5A6983-1D36-E340-F36C-AE9E8481454B}"/>
          </ac:spMkLst>
        </pc:spChg>
        <pc:spChg chg="add del mod modVis">
          <ac:chgData name="vonWaldow, Ulrich" userId="c64b3fe1-2fbf-4408-adc4-30add62e991f" providerId="ADAL" clId="{B99A90B8-7D29-4456-AFD4-0F3DBA13A596}" dt="2024-08-27T12:08:33.624" v="55881"/>
          <ac:spMkLst>
            <pc:docMk/>
            <pc:sldMk cId="0" sldId="274"/>
            <ac:spMk id="398" creationId="{5EC28B7B-9C2E-94E2-BFD6-54AB0236B8A1}"/>
          </ac:spMkLst>
        </pc:spChg>
        <pc:spChg chg="add del mod modVis">
          <ac:chgData name="vonWaldow, Ulrich" userId="c64b3fe1-2fbf-4408-adc4-30add62e991f" providerId="ADAL" clId="{B99A90B8-7D29-4456-AFD4-0F3DBA13A596}" dt="2024-08-27T12:08:36.167" v="55991"/>
          <ac:spMkLst>
            <pc:docMk/>
            <pc:sldMk cId="0" sldId="274"/>
            <ac:spMk id="400" creationId="{A190E3E8-21BF-A475-0D3E-97F817E62C36}"/>
          </ac:spMkLst>
        </pc:spChg>
        <pc:spChg chg="add del mod modVis">
          <ac:chgData name="vonWaldow, Ulrich" userId="c64b3fe1-2fbf-4408-adc4-30add62e991f" providerId="ADAL" clId="{B99A90B8-7D29-4456-AFD4-0F3DBA13A596}" dt="2024-08-27T12:08:42.041" v="56150"/>
          <ac:spMkLst>
            <pc:docMk/>
            <pc:sldMk cId="0" sldId="274"/>
            <ac:spMk id="402" creationId="{83704C56-2C2F-13D0-BB80-6861E59929AF}"/>
          </ac:spMkLst>
        </pc:spChg>
        <pc:spChg chg="add del mod modVis">
          <ac:chgData name="vonWaldow, Ulrich" userId="c64b3fe1-2fbf-4408-adc4-30add62e991f" providerId="ADAL" clId="{B99A90B8-7D29-4456-AFD4-0F3DBA13A596}" dt="2024-08-27T12:08:44.546" v="56297"/>
          <ac:spMkLst>
            <pc:docMk/>
            <pc:sldMk cId="0" sldId="274"/>
            <ac:spMk id="404" creationId="{597D52EC-CAF7-B3B0-81F3-33961C7C7BD8}"/>
          </ac:spMkLst>
        </pc:spChg>
        <pc:spChg chg="add del mod modVis">
          <ac:chgData name="vonWaldow, Ulrich" userId="c64b3fe1-2fbf-4408-adc4-30add62e991f" providerId="ADAL" clId="{B99A90B8-7D29-4456-AFD4-0F3DBA13A596}" dt="2024-08-27T12:08:46.752" v="56398"/>
          <ac:spMkLst>
            <pc:docMk/>
            <pc:sldMk cId="0" sldId="274"/>
            <ac:spMk id="406" creationId="{34DCBF36-BD47-0AA7-5B9B-A5D6C5B12210}"/>
          </ac:spMkLst>
        </pc:spChg>
        <pc:spChg chg="add del mod modVis">
          <ac:chgData name="vonWaldow, Ulrich" userId="c64b3fe1-2fbf-4408-adc4-30add62e991f" providerId="ADAL" clId="{B99A90B8-7D29-4456-AFD4-0F3DBA13A596}" dt="2024-08-27T12:08:52.299" v="56490"/>
          <ac:spMkLst>
            <pc:docMk/>
            <pc:sldMk cId="0" sldId="274"/>
            <ac:spMk id="408" creationId="{8C774C0A-C6A4-A1ED-B6B3-37AD454DAAE4}"/>
          </ac:spMkLst>
        </pc:spChg>
        <pc:spChg chg="add del mod modVis">
          <ac:chgData name="vonWaldow, Ulrich" userId="c64b3fe1-2fbf-4408-adc4-30add62e991f" providerId="ADAL" clId="{B99A90B8-7D29-4456-AFD4-0F3DBA13A596}" dt="2024-08-27T12:08:59.046" v="56582"/>
          <ac:spMkLst>
            <pc:docMk/>
            <pc:sldMk cId="0" sldId="274"/>
            <ac:spMk id="410" creationId="{30EA58EE-8C39-332B-76BC-6892551672D1}"/>
          </ac:spMkLst>
        </pc:spChg>
        <pc:spChg chg="add del mod modVis">
          <ac:chgData name="vonWaldow, Ulrich" userId="c64b3fe1-2fbf-4408-adc4-30add62e991f" providerId="ADAL" clId="{B99A90B8-7D29-4456-AFD4-0F3DBA13A596}" dt="2024-08-27T12:09:04.682" v="56674"/>
          <ac:spMkLst>
            <pc:docMk/>
            <pc:sldMk cId="0" sldId="274"/>
            <ac:spMk id="412" creationId="{6D5D9DFA-3B5E-77CA-86E3-5A1359EB0940}"/>
          </ac:spMkLst>
        </pc:spChg>
        <pc:spChg chg="add del mod modVis">
          <ac:chgData name="vonWaldow, Ulrich" userId="c64b3fe1-2fbf-4408-adc4-30add62e991f" providerId="ADAL" clId="{B99A90B8-7D29-4456-AFD4-0F3DBA13A596}" dt="2024-08-27T12:09:13.559" v="56766"/>
          <ac:spMkLst>
            <pc:docMk/>
            <pc:sldMk cId="0" sldId="274"/>
            <ac:spMk id="414" creationId="{F1B0C84B-AF40-181E-4033-BE2E4F7EA9CF}"/>
          </ac:spMkLst>
        </pc:spChg>
        <pc:spChg chg="add del mod modVis">
          <ac:chgData name="vonWaldow, Ulrich" userId="c64b3fe1-2fbf-4408-adc4-30add62e991f" providerId="ADAL" clId="{B99A90B8-7D29-4456-AFD4-0F3DBA13A596}" dt="2024-08-27T12:09:19.739" v="56858"/>
          <ac:spMkLst>
            <pc:docMk/>
            <pc:sldMk cId="0" sldId="274"/>
            <ac:spMk id="416" creationId="{67D57B4A-59FB-F423-0BB8-28BA0E1AAC58}"/>
          </ac:spMkLst>
        </pc:spChg>
        <pc:spChg chg="add del mod modVis">
          <ac:chgData name="vonWaldow, Ulrich" userId="c64b3fe1-2fbf-4408-adc4-30add62e991f" providerId="ADAL" clId="{B99A90B8-7D29-4456-AFD4-0F3DBA13A596}" dt="2024-08-27T12:09:29.564" v="56950"/>
          <ac:spMkLst>
            <pc:docMk/>
            <pc:sldMk cId="0" sldId="274"/>
            <ac:spMk id="418" creationId="{0002DA9D-21D9-6293-8D4B-B70A4972EB0B}"/>
          </ac:spMkLst>
        </pc:spChg>
        <pc:spChg chg="add del mod modVis">
          <ac:chgData name="vonWaldow, Ulrich" userId="c64b3fe1-2fbf-4408-adc4-30add62e991f" providerId="ADAL" clId="{B99A90B8-7D29-4456-AFD4-0F3DBA13A596}" dt="2024-08-27T12:09:44.700" v="57042"/>
          <ac:spMkLst>
            <pc:docMk/>
            <pc:sldMk cId="0" sldId="274"/>
            <ac:spMk id="420" creationId="{16446C9A-8686-E728-AD48-15713359F7BA}"/>
          </ac:spMkLst>
        </pc:spChg>
        <pc:spChg chg="add del mod ord replST">
          <ac:chgData name="vonWaldow, Ulrich" userId="c64b3fe1-2fbf-4408-adc4-30add62e991f" providerId="ADAL" clId="{B99A90B8-7D29-4456-AFD4-0F3DBA13A596}" dt="2024-08-27T12:18:25.864" v="66402" actId="478"/>
          <ac:spMkLst>
            <pc:docMk/>
            <pc:sldMk cId="0" sldId="274"/>
            <ac:spMk id="423" creationId="{D790FB34-E34C-5206-7E55-2560CCF13270}"/>
          </ac:spMkLst>
        </pc:spChg>
        <pc:spChg chg="add del mod modVis">
          <ac:chgData name="vonWaldow, Ulrich" userId="c64b3fe1-2fbf-4408-adc4-30add62e991f" providerId="ADAL" clId="{B99A90B8-7D29-4456-AFD4-0F3DBA13A596}" dt="2024-08-27T12:10:02.444" v="57810"/>
          <ac:spMkLst>
            <pc:docMk/>
            <pc:sldMk cId="0" sldId="274"/>
            <ac:spMk id="424" creationId="{B91082FE-8B3B-E9ED-CF1D-98071F5EA2F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3"/>
          <ac:spMkLst>
            <pc:docMk/>
            <pc:sldMk cId="0" sldId="274"/>
            <ac:spMk id="4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4"/>
          <ac:spMkLst>
            <pc:docMk/>
            <pc:sldMk cId="0" sldId="274"/>
            <ac:spMk id="4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5"/>
          <ac:spMkLst>
            <pc:docMk/>
            <pc:sldMk cId="0" sldId="274"/>
            <ac:spMk id="4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6"/>
          <ac:spMkLst>
            <pc:docMk/>
            <pc:sldMk cId="0" sldId="274"/>
            <ac:spMk id="4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7"/>
          <ac:spMkLst>
            <pc:docMk/>
            <pc:sldMk cId="0" sldId="274"/>
            <ac:spMk id="4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8"/>
          <ac:spMkLst>
            <pc:docMk/>
            <pc:sldMk cId="0" sldId="274"/>
            <ac:spMk id="4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9"/>
          <ac:spMkLst>
            <pc:docMk/>
            <pc:sldMk cId="0" sldId="274"/>
            <ac:spMk id="4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0"/>
          <ac:spMkLst>
            <pc:docMk/>
            <pc:sldMk cId="0" sldId="274"/>
            <ac:spMk id="4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1"/>
          <ac:spMkLst>
            <pc:docMk/>
            <pc:sldMk cId="0" sldId="274"/>
            <ac:spMk id="4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2"/>
          <ac:spMkLst>
            <pc:docMk/>
            <pc:sldMk cId="0" sldId="274"/>
            <ac:spMk id="4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3"/>
          <ac:spMkLst>
            <pc:docMk/>
            <pc:sldMk cId="0" sldId="274"/>
            <ac:spMk id="43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0:04.448" v="57924"/>
          <ac:spMkLst>
            <pc:docMk/>
            <pc:sldMk cId="0" sldId="274"/>
            <ac:spMk id="437" creationId="{6EB31069-96FC-7525-4D3C-C53179D9F7A1}"/>
          </ac:spMkLst>
        </pc:spChg>
        <pc:spChg chg="add del mod modVis">
          <ac:chgData name="vonWaldow, Ulrich" userId="c64b3fe1-2fbf-4408-adc4-30add62e991f" providerId="ADAL" clId="{B99A90B8-7D29-4456-AFD4-0F3DBA13A596}" dt="2024-08-27T12:10:12.002" v="58124"/>
          <ac:spMkLst>
            <pc:docMk/>
            <pc:sldMk cId="0" sldId="274"/>
            <ac:spMk id="439" creationId="{7C10CB32-7C5E-39E3-5A2D-D81C6EC50046}"/>
          </ac:spMkLst>
        </pc:spChg>
        <pc:spChg chg="add del mod modVis">
          <ac:chgData name="vonWaldow, Ulrich" userId="c64b3fe1-2fbf-4408-adc4-30add62e991f" providerId="ADAL" clId="{B99A90B8-7D29-4456-AFD4-0F3DBA13A596}" dt="2024-08-27T12:10:20.801" v="58298"/>
          <ac:spMkLst>
            <pc:docMk/>
            <pc:sldMk cId="0" sldId="274"/>
            <ac:spMk id="441" creationId="{3711BA8D-CF0F-4162-7B3E-986F6A463068}"/>
          </ac:spMkLst>
        </pc:spChg>
        <pc:spChg chg="add del mod modVis">
          <ac:chgData name="vonWaldow, Ulrich" userId="c64b3fe1-2fbf-4408-adc4-30add62e991f" providerId="ADAL" clId="{B99A90B8-7D29-4456-AFD4-0F3DBA13A596}" dt="2024-08-27T12:10:40.057" v="58422"/>
          <ac:spMkLst>
            <pc:docMk/>
            <pc:sldMk cId="0" sldId="274"/>
            <ac:spMk id="443" creationId="{64C0E4C8-E5D8-844B-4B03-3A33730B81FB}"/>
          </ac:spMkLst>
        </pc:spChg>
        <pc:spChg chg="add del mod modVis">
          <ac:chgData name="vonWaldow, Ulrich" userId="c64b3fe1-2fbf-4408-adc4-30add62e991f" providerId="ADAL" clId="{B99A90B8-7D29-4456-AFD4-0F3DBA13A596}" dt="2024-08-27T12:10:41.747" v="58534"/>
          <ac:spMkLst>
            <pc:docMk/>
            <pc:sldMk cId="0" sldId="274"/>
            <ac:spMk id="445" creationId="{A3350302-D996-CD7A-C7D9-16E3E08440EF}"/>
          </ac:spMkLst>
        </pc:spChg>
        <pc:spChg chg="add del mod modVis">
          <ac:chgData name="vonWaldow, Ulrich" userId="c64b3fe1-2fbf-4408-adc4-30add62e991f" providerId="ADAL" clId="{B99A90B8-7D29-4456-AFD4-0F3DBA13A596}" dt="2024-08-27T12:10:48.485" v="58626"/>
          <ac:spMkLst>
            <pc:docMk/>
            <pc:sldMk cId="0" sldId="274"/>
            <ac:spMk id="447" creationId="{68E50AD9-5D7F-00F0-205D-1F8C6D553105}"/>
          </ac:spMkLst>
        </pc:spChg>
        <pc:spChg chg="add del mod modVis">
          <ac:chgData name="vonWaldow, Ulrich" userId="c64b3fe1-2fbf-4408-adc4-30add62e991f" providerId="ADAL" clId="{B99A90B8-7D29-4456-AFD4-0F3DBA13A596}" dt="2024-08-27T12:10:49.705" v="58718"/>
          <ac:spMkLst>
            <pc:docMk/>
            <pc:sldMk cId="0" sldId="274"/>
            <ac:spMk id="449" creationId="{B291B88A-EC93-EC8B-E0CC-205481DD95C6}"/>
          </ac:spMkLst>
        </pc:spChg>
        <pc:spChg chg="add del mod modVis">
          <ac:chgData name="vonWaldow, Ulrich" userId="c64b3fe1-2fbf-4408-adc4-30add62e991f" providerId="ADAL" clId="{B99A90B8-7D29-4456-AFD4-0F3DBA13A596}" dt="2024-08-27T12:10:51.219" v="58810"/>
          <ac:spMkLst>
            <pc:docMk/>
            <pc:sldMk cId="0" sldId="274"/>
            <ac:spMk id="451" creationId="{16044C00-7BF1-2BC6-C9E8-CE9CAA9DE55F}"/>
          </ac:spMkLst>
        </pc:spChg>
        <pc:spChg chg="add del mod modVis">
          <ac:chgData name="vonWaldow, Ulrich" userId="c64b3fe1-2fbf-4408-adc4-30add62e991f" providerId="ADAL" clId="{B99A90B8-7D29-4456-AFD4-0F3DBA13A596}" dt="2024-08-27T12:10:52.308" v="58902"/>
          <ac:spMkLst>
            <pc:docMk/>
            <pc:sldMk cId="0" sldId="274"/>
            <ac:spMk id="453" creationId="{99D2CE37-94C8-54FD-6172-DFEF9FEB9947}"/>
          </ac:spMkLst>
        </pc:spChg>
        <pc:spChg chg="add del mod modVis">
          <ac:chgData name="vonWaldow, Ulrich" userId="c64b3fe1-2fbf-4408-adc4-30add62e991f" providerId="ADAL" clId="{B99A90B8-7D29-4456-AFD4-0F3DBA13A596}" dt="2024-08-27T12:10:53.843" v="58994"/>
          <ac:spMkLst>
            <pc:docMk/>
            <pc:sldMk cId="0" sldId="274"/>
            <ac:spMk id="455" creationId="{8F5BDF79-14B4-07E1-8C3F-A96B448F1040}"/>
          </ac:spMkLst>
        </pc:spChg>
        <pc:spChg chg="add del mod modVis">
          <ac:chgData name="vonWaldow, Ulrich" userId="c64b3fe1-2fbf-4408-adc4-30add62e991f" providerId="ADAL" clId="{B99A90B8-7D29-4456-AFD4-0F3DBA13A596}" dt="2024-08-27T12:10:56.280" v="59086"/>
          <ac:spMkLst>
            <pc:docMk/>
            <pc:sldMk cId="0" sldId="274"/>
            <ac:spMk id="457" creationId="{60A3FEAD-23EC-CB84-7FA7-C48CD4CD41FA}"/>
          </ac:spMkLst>
        </pc:spChg>
        <pc:spChg chg="add del mod modVis">
          <ac:chgData name="vonWaldow, Ulrich" userId="c64b3fe1-2fbf-4408-adc4-30add62e991f" providerId="ADAL" clId="{B99A90B8-7D29-4456-AFD4-0F3DBA13A596}" dt="2024-08-27T12:11:01.032" v="59178"/>
          <ac:spMkLst>
            <pc:docMk/>
            <pc:sldMk cId="0" sldId="274"/>
            <ac:spMk id="459" creationId="{BD7DCA50-C4C6-09DF-D969-4573BA3A12F5}"/>
          </ac:spMkLst>
        </pc:spChg>
        <pc:spChg chg="add del mod modVis">
          <ac:chgData name="vonWaldow, Ulrich" userId="c64b3fe1-2fbf-4408-adc4-30add62e991f" providerId="ADAL" clId="{B99A90B8-7D29-4456-AFD4-0F3DBA13A596}" dt="2024-08-27T12:11:03.948" v="59270"/>
          <ac:spMkLst>
            <pc:docMk/>
            <pc:sldMk cId="0" sldId="274"/>
            <ac:spMk id="461" creationId="{D504C2D7-18FE-FE29-9B91-4FAF6E303001}"/>
          </ac:spMkLst>
        </pc:spChg>
        <pc:spChg chg="add del mod modVis">
          <ac:chgData name="vonWaldow, Ulrich" userId="c64b3fe1-2fbf-4408-adc4-30add62e991f" providerId="ADAL" clId="{B99A90B8-7D29-4456-AFD4-0F3DBA13A596}" dt="2024-08-27T12:11:05.842" v="59362"/>
          <ac:spMkLst>
            <pc:docMk/>
            <pc:sldMk cId="0" sldId="274"/>
            <ac:spMk id="463" creationId="{5C7A8022-9EFC-DE52-4BCB-16B30B2F0B8F}"/>
          </ac:spMkLst>
        </pc:spChg>
        <pc:spChg chg="add del mod modVis">
          <ac:chgData name="vonWaldow, Ulrich" userId="c64b3fe1-2fbf-4408-adc4-30add62e991f" providerId="ADAL" clId="{B99A90B8-7D29-4456-AFD4-0F3DBA13A596}" dt="2024-08-27T12:11:06.920" v="59454"/>
          <ac:spMkLst>
            <pc:docMk/>
            <pc:sldMk cId="0" sldId="274"/>
            <ac:spMk id="465" creationId="{799558CD-E7F5-2B21-E44C-E4FD9EDEC944}"/>
          </ac:spMkLst>
        </pc:spChg>
        <pc:spChg chg="add del mod modVis">
          <ac:chgData name="vonWaldow, Ulrich" userId="c64b3fe1-2fbf-4408-adc4-30add62e991f" providerId="ADAL" clId="{B99A90B8-7D29-4456-AFD4-0F3DBA13A596}" dt="2024-08-27T12:11:11.464" v="59546"/>
          <ac:spMkLst>
            <pc:docMk/>
            <pc:sldMk cId="0" sldId="274"/>
            <ac:spMk id="467" creationId="{B4E92F1A-2252-94B7-138F-BC3AD469E327}"/>
          </ac:spMkLst>
        </pc:spChg>
        <pc:spChg chg="add del mod modVis">
          <ac:chgData name="vonWaldow, Ulrich" userId="c64b3fe1-2fbf-4408-adc4-30add62e991f" providerId="ADAL" clId="{B99A90B8-7D29-4456-AFD4-0F3DBA13A596}" dt="2024-08-27T12:11:13.249" v="59638"/>
          <ac:spMkLst>
            <pc:docMk/>
            <pc:sldMk cId="0" sldId="274"/>
            <ac:spMk id="469" creationId="{31F1ECA0-1AF2-D429-7160-1F865AE0E7C8}"/>
          </ac:spMkLst>
        </pc:spChg>
        <pc:spChg chg="add del mod modVis">
          <ac:chgData name="vonWaldow, Ulrich" userId="c64b3fe1-2fbf-4408-adc4-30add62e991f" providerId="ADAL" clId="{B99A90B8-7D29-4456-AFD4-0F3DBA13A596}" dt="2024-08-27T12:11:14.716" v="59730"/>
          <ac:spMkLst>
            <pc:docMk/>
            <pc:sldMk cId="0" sldId="274"/>
            <ac:spMk id="471" creationId="{FE8855D7-FC8E-6C3A-E1DA-F68456E97F97}"/>
          </ac:spMkLst>
        </pc:spChg>
        <pc:spChg chg="add del mod modVis">
          <ac:chgData name="vonWaldow, Ulrich" userId="c64b3fe1-2fbf-4408-adc4-30add62e991f" providerId="ADAL" clId="{B99A90B8-7D29-4456-AFD4-0F3DBA13A596}" dt="2024-08-27T12:11:16.254" v="59822"/>
          <ac:spMkLst>
            <pc:docMk/>
            <pc:sldMk cId="0" sldId="274"/>
            <ac:spMk id="473" creationId="{2E1791DC-18BC-F18F-15E5-03EDCBE9E172}"/>
          </ac:spMkLst>
        </pc:spChg>
        <pc:spChg chg="add del mod modVis">
          <ac:chgData name="vonWaldow, Ulrich" userId="c64b3fe1-2fbf-4408-adc4-30add62e991f" providerId="ADAL" clId="{B99A90B8-7D29-4456-AFD4-0F3DBA13A596}" dt="2024-08-27T12:11:17.456" v="59914"/>
          <ac:spMkLst>
            <pc:docMk/>
            <pc:sldMk cId="0" sldId="274"/>
            <ac:spMk id="475" creationId="{1F140379-3507-64DC-B8BB-7E6A9DC67812}"/>
          </ac:spMkLst>
        </pc:spChg>
        <pc:spChg chg="add del mod modVis">
          <ac:chgData name="vonWaldow, Ulrich" userId="c64b3fe1-2fbf-4408-adc4-30add62e991f" providerId="ADAL" clId="{B99A90B8-7D29-4456-AFD4-0F3DBA13A596}" dt="2024-08-27T12:11:19.907" v="60006"/>
          <ac:spMkLst>
            <pc:docMk/>
            <pc:sldMk cId="0" sldId="274"/>
            <ac:spMk id="477" creationId="{D27D4023-02D2-5854-D219-6DC779F947EF}"/>
          </ac:spMkLst>
        </pc:spChg>
        <pc:spChg chg="add del mod modVis">
          <ac:chgData name="vonWaldow, Ulrich" userId="c64b3fe1-2fbf-4408-adc4-30add62e991f" providerId="ADAL" clId="{B99A90B8-7D29-4456-AFD4-0F3DBA13A596}" dt="2024-08-27T12:11:21.163" v="60098"/>
          <ac:spMkLst>
            <pc:docMk/>
            <pc:sldMk cId="0" sldId="274"/>
            <ac:spMk id="479" creationId="{53EC8CCA-5F54-E0CD-A91F-D36C80F3BBB3}"/>
          </ac:spMkLst>
        </pc:spChg>
        <pc:spChg chg="add del mod modVis">
          <ac:chgData name="vonWaldow, Ulrich" userId="c64b3fe1-2fbf-4408-adc4-30add62e991f" providerId="ADAL" clId="{B99A90B8-7D29-4456-AFD4-0F3DBA13A596}" dt="2024-08-27T12:11:22.223" v="60190"/>
          <ac:spMkLst>
            <pc:docMk/>
            <pc:sldMk cId="0" sldId="274"/>
            <ac:spMk id="481" creationId="{4CF897EF-E4C7-9E15-FFCC-6E57899914E8}"/>
          </ac:spMkLst>
        </pc:spChg>
        <pc:spChg chg="add del mod modVis">
          <ac:chgData name="vonWaldow, Ulrich" userId="c64b3fe1-2fbf-4408-adc4-30add62e991f" providerId="ADAL" clId="{B99A90B8-7D29-4456-AFD4-0F3DBA13A596}" dt="2024-08-27T12:11:23.033" v="60282"/>
          <ac:spMkLst>
            <pc:docMk/>
            <pc:sldMk cId="0" sldId="274"/>
            <ac:spMk id="483" creationId="{93F82673-2888-15FB-EDF7-6DDAD68DD193}"/>
          </ac:spMkLst>
        </pc:spChg>
        <pc:spChg chg="add del mod modVis">
          <ac:chgData name="vonWaldow, Ulrich" userId="c64b3fe1-2fbf-4408-adc4-30add62e991f" providerId="ADAL" clId="{B99A90B8-7D29-4456-AFD4-0F3DBA13A596}" dt="2024-08-27T12:11:25.192" v="60374"/>
          <ac:spMkLst>
            <pc:docMk/>
            <pc:sldMk cId="0" sldId="274"/>
            <ac:spMk id="485" creationId="{9D6C5469-F4A0-5107-777C-56BD53F198C5}"/>
          </ac:spMkLst>
        </pc:spChg>
        <pc:spChg chg="add del mod modVis">
          <ac:chgData name="vonWaldow, Ulrich" userId="c64b3fe1-2fbf-4408-adc4-30add62e991f" providerId="ADAL" clId="{B99A90B8-7D29-4456-AFD4-0F3DBA13A596}" dt="2024-08-27T12:11:48.562" v="60466"/>
          <ac:spMkLst>
            <pc:docMk/>
            <pc:sldMk cId="0" sldId="274"/>
            <ac:spMk id="487" creationId="{27540F7E-4F30-323F-B15A-2F03EA9D6310}"/>
          </ac:spMkLst>
        </pc:spChg>
        <pc:spChg chg="add del mod modVis">
          <ac:chgData name="vonWaldow, Ulrich" userId="c64b3fe1-2fbf-4408-adc4-30add62e991f" providerId="ADAL" clId="{B99A90B8-7D29-4456-AFD4-0F3DBA13A596}" dt="2024-08-27T12:11:55.176" v="60558"/>
          <ac:spMkLst>
            <pc:docMk/>
            <pc:sldMk cId="0" sldId="274"/>
            <ac:spMk id="489" creationId="{97CA5F94-C12B-6C66-2E89-1D57F55E8383}"/>
          </ac:spMkLst>
        </pc:spChg>
        <pc:spChg chg="add del mod modVis">
          <ac:chgData name="vonWaldow, Ulrich" userId="c64b3fe1-2fbf-4408-adc4-30add62e991f" providerId="ADAL" clId="{B99A90B8-7D29-4456-AFD4-0F3DBA13A596}" dt="2024-08-27T12:11:59.317" v="61292"/>
          <ac:spMkLst>
            <pc:docMk/>
            <pc:sldMk cId="0" sldId="274"/>
            <ac:spMk id="491" creationId="{9AAB7B2F-C44C-71BC-4092-A97DB5CA228B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5"/>
          <ac:spMkLst>
            <pc:docMk/>
            <pc:sldMk cId="0" sldId="274"/>
            <ac:spMk id="4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6"/>
          <ac:spMkLst>
            <pc:docMk/>
            <pc:sldMk cId="0" sldId="274"/>
            <ac:spMk id="4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7"/>
          <ac:spMkLst>
            <pc:docMk/>
            <pc:sldMk cId="0" sldId="274"/>
            <ac:spMk id="4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8"/>
          <ac:spMkLst>
            <pc:docMk/>
            <pc:sldMk cId="0" sldId="274"/>
            <ac:spMk id="49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9"/>
          <ac:spMkLst>
            <pc:docMk/>
            <pc:sldMk cId="0" sldId="274"/>
            <ac:spMk id="49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50"/>
          <ac:spMkLst>
            <pc:docMk/>
            <pc:sldMk cId="0" sldId="274"/>
            <ac:spMk id="49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1"/>
          <ac:spMkLst>
            <pc:docMk/>
            <pc:sldMk cId="0" sldId="274"/>
            <ac:spMk id="49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2"/>
          <ac:spMkLst>
            <pc:docMk/>
            <pc:sldMk cId="0" sldId="274"/>
            <ac:spMk id="49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3"/>
          <ac:spMkLst>
            <pc:docMk/>
            <pc:sldMk cId="0" sldId="274"/>
            <ac:spMk id="50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4"/>
          <ac:spMkLst>
            <pc:docMk/>
            <pc:sldMk cId="0" sldId="274"/>
            <ac:spMk id="50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5"/>
          <ac:spMkLst>
            <pc:docMk/>
            <pc:sldMk cId="0" sldId="274"/>
            <ac:spMk id="50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2:00.130" v="61406"/>
          <ac:spMkLst>
            <pc:docMk/>
            <pc:sldMk cId="0" sldId="274"/>
            <ac:spMk id="504" creationId="{BD30EDF5-7398-0A79-316F-D437F6BAB071}"/>
          </ac:spMkLst>
        </pc:spChg>
        <pc:spChg chg="add del mod modVis">
          <ac:chgData name="vonWaldow, Ulrich" userId="c64b3fe1-2fbf-4408-adc4-30add62e991f" providerId="ADAL" clId="{B99A90B8-7D29-4456-AFD4-0F3DBA13A596}" dt="2024-08-27T12:12:05.954" v="61522"/>
          <ac:spMkLst>
            <pc:docMk/>
            <pc:sldMk cId="0" sldId="274"/>
            <ac:spMk id="506" creationId="{70D7D06F-F8F5-E5CA-5FD6-A0E233C3B22B}"/>
          </ac:spMkLst>
        </pc:spChg>
        <pc:spChg chg="add del mod modVis">
          <ac:chgData name="vonWaldow, Ulrich" userId="c64b3fe1-2fbf-4408-adc4-30add62e991f" providerId="ADAL" clId="{B99A90B8-7D29-4456-AFD4-0F3DBA13A596}" dt="2024-08-27T12:12:14.983" v="61685"/>
          <ac:spMkLst>
            <pc:docMk/>
            <pc:sldMk cId="0" sldId="274"/>
            <ac:spMk id="508" creationId="{C74E7B5B-1DD4-A9E0-604A-EBD2B904DEB1}"/>
          </ac:spMkLst>
        </pc:spChg>
        <pc:spChg chg="add mod replST">
          <ac:chgData name="vonWaldow, Ulrich" userId="c64b3fe1-2fbf-4408-adc4-30add62e991f" providerId="ADAL" clId="{B99A90B8-7D29-4456-AFD4-0F3DBA13A596}" dt="2024-08-27T12:42:29.345" v="93615"/>
          <ac:spMkLst>
            <pc:docMk/>
            <pc:sldMk cId="0" sldId="274"/>
            <ac:spMk id="50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2:23.268" v="61787"/>
          <ac:spMkLst>
            <pc:docMk/>
            <pc:sldMk cId="0" sldId="274"/>
            <ac:spMk id="511" creationId="{15A8D8D6-7798-FFD1-45F6-076CE4680829}"/>
          </ac:spMkLst>
        </pc:spChg>
        <pc:spChg chg="add del mod modVis">
          <ac:chgData name="vonWaldow, Ulrich" userId="c64b3fe1-2fbf-4408-adc4-30add62e991f" providerId="ADAL" clId="{B99A90B8-7D29-4456-AFD4-0F3DBA13A596}" dt="2024-08-27T12:12:30.308" v="61911"/>
          <ac:spMkLst>
            <pc:docMk/>
            <pc:sldMk cId="0" sldId="274"/>
            <ac:spMk id="513" creationId="{D92F7988-F2CA-1FFF-996D-86C63EACDEDA}"/>
          </ac:spMkLst>
        </pc:spChg>
        <pc:spChg chg="add del mod modVis">
          <ac:chgData name="vonWaldow, Ulrich" userId="c64b3fe1-2fbf-4408-adc4-30add62e991f" providerId="ADAL" clId="{B99A90B8-7D29-4456-AFD4-0F3DBA13A596}" dt="2024-08-27T12:12:32.551" v="62016"/>
          <ac:spMkLst>
            <pc:docMk/>
            <pc:sldMk cId="0" sldId="274"/>
            <ac:spMk id="515" creationId="{C508EC3B-42C3-D45A-52F1-9F1E1762239A}"/>
          </ac:spMkLst>
        </pc:spChg>
        <pc:spChg chg="add del mod modVis">
          <ac:chgData name="vonWaldow, Ulrich" userId="c64b3fe1-2fbf-4408-adc4-30add62e991f" providerId="ADAL" clId="{B99A90B8-7D29-4456-AFD4-0F3DBA13A596}" dt="2024-08-27T12:12:36.135" v="62123"/>
          <ac:spMkLst>
            <pc:docMk/>
            <pc:sldMk cId="0" sldId="274"/>
            <ac:spMk id="517" creationId="{E9DFA72C-260B-DDF4-2F45-7DB8A73901B9}"/>
          </ac:spMkLst>
        </pc:spChg>
        <pc:spChg chg="add del mod modVis">
          <ac:chgData name="vonWaldow, Ulrich" userId="c64b3fe1-2fbf-4408-adc4-30add62e991f" providerId="ADAL" clId="{B99A90B8-7D29-4456-AFD4-0F3DBA13A596}" dt="2024-08-27T12:13:11.821" v="62219"/>
          <ac:spMkLst>
            <pc:docMk/>
            <pc:sldMk cId="0" sldId="274"/>
            <ac:spMk id="519" creationId="{CD1D5FA2-921F-3112-FC68-17C74BD6F4C3}"/>
          </ac:spMkLst>
        </pc:spChg>
        <pc:spChg chg="add del mod modVis">
          <ac:chgData name="vonWaldow, Ulrich" userId="c64b3fe1-2fbf-4408-adc4-30add62e991f" providerId="ADAL" clId="{B99A90B8-7D29-4456-AFD4-0F3DBA13A596}" dt="2024-08-27T12:13:17.759" v="62315"/>
          <ac:spMkLst>
            <pc:docMk/>
            <pc:sldMk cId="0" sldId="274"/>
            <ac:spMk id="521" creationId="{9D5CA6EE-0289-CF6C-0DCA-1B389FB06D45}"/>
          </ac:spMkLst>
        </pc:spChg>
        <pc:spChg chg="add del mod modVis">
          <ac:chgData name="vonWaldow, Ulrich" userId="c64b3fe1-2fbf-4408-adc4-30add62e991f" providerId="ADAL" clId="{B99A90B8-7D29-4456-AFD4-0F3DBA13A596}" dt="2024-08-27T12:13:23.670" v="62411"/>
          <ac:spMkLst>
            <pc:docMk/>
            <pc:sldMk cId="0" sldId="274"/>
            <ac:spMk id="523" creationId="{055C5B3D-F03C-43CB-AF6A-7946623A1A4C}"/>
          </ac:spMkLst>
        </pc:spChg>
        <pc:spChg chg="add del mod modVis">
          <ac:chgData name="vonWaldow, Ulrich" userId="c64b3fe1-2fbf-4408-adc4-30add62e991f" providerId="ADAL" clId="{B99A90B8-7D29-4456-AFD4-0F3DBA13A596}" dt="2024-08-27T12:13:39.034" v="62524"/>
          <ac:spMkLst>
            <pc:docMk/>
            <pc:sldMk cId="0" sldId="274"/>
            <ac:spMk id="525" creationId="{534610C7-26EE-1846-12EF-31B659601FC9}"/>
          </ac:spMkLst>
        </pc:spChg>
        <pc:spChg chg="add del mod modVis">
          <ac:chgData name="vonWaldow, Ulrich" userId="c64b3fe1-2fbf-4408-adc4-30add62e991f" providerId="ADAL" clId="{B99A90B8-7D29-4456-AFD4-0F3DBA13A596}" dt="2024-08-27T12:13:41.564" v="62631"/>
          <ac:spMkLst>
            <pc:docMk/>
            <pc:sldMk cId="0" sldId="274"/>
            <ac:spMk id="527" creationId="{311B11E6-00D8-EB51-B8ED-247B6C9009EF}"/>
          </ac:spMkLst>
        </pc:spChg>
        <pc:spChg chg="add del mod modVis">
          <ac:chgData name="vonWaldow, Ulrich" userId="c64b3fe1-2fbf-4408-adc4-30add62e991f" providerId="ADAL" clId="{B99A90B8-7D29-4456-AFD4-0F3DBA13A596}" dt="2024-08-27T12:13:44.455" v="62738"/>
          <ac:spMkLst>
            <pc:docMk/>
            <pc:sldMk cId="0" sldId="274"/>
            <ac:spMk id="529" creationId="{62C89440-EA03-F651-AC2A-E17B5972E8F9}"/>
          </ac:spMkLst>
        </pc:spChg>
        <pc:spChg chg="add del mod modVis">
          <ac:chgData name="vonWaldow, Ulrich" userId="c64b3fe1-2fbf-4408-adc4-30add62e991f" providerId="ADAL" clId="{B99A90B8-7D29-4456-AFD4-0F3DBA13A596}" dt="2024-08-27T12:13:47.962" v="62903"/>
          <ac:spMkLst>
            <pc:docMk/>
            <pc:sldMk cId="0" sldId="274"/>
            <ac:spMk id="531" creationId="{EDD16258-35A8-00B0-DBB7-B6D28AA54C8A}"/>
          </ac:spMkLst>
        </pc:spChg>
        <pc:spChg chg="add mod replST">
          <ac:chgData name="vonWaldow, Ulrich" userId="c64b3fe1-2fbf-4408-adc4-30add62e991f" providerId="ADAL" clId="{B99A90B8-7D29-4456-AFD4-0F3DBA13A596}" dt="2024-08-27T12:42:29.345" v="93616"/>
          <ac:spMkLst>
            <pc:docMk/>
            <pc:sldMk cId="0" sldId="274"/>
            <ac:spMk id="53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3:54.791" v="63015"/>
          <ac:spMkLst>
            <pc:docMk/>
            <pc:sldMk cId="0" sldId="274"/>
            <ac:spMk id="534" creationId="{A333A00D-C954-5E35-89DA-D1A23610258D}"/>
          </ac:spMkLst>
        </pc:spChg>
        <pc:spChg chg="add del mod modVis">
          <ac:chgData name="vonWaldow, Ulrich" userId="c64b3fe1-2fbf-4408-adc4-30add62e991f" providerId="ADAL" clId="{B99A90B8-7D29-4456-AFD4-0F3DBA13A596}" dt="2024-08-27T12:13:59.666" v="63127"/>
          <ac:spMkLst>
            <pc:docMk/>
            <pc:sldMk cId="0" sldId="274"/>
            <ac:spMk id="536" creationId="{9B8EDDD5-B993-62F0-CC35-378EE7AF5FDE}"/>
          </ac:spMkLst>
        </pc:spChg>
        <pc:spChg chg="add del mod modVis">
          <ac:chgData name="vonWaldow, Ulrich" userId="c64b3fe1-2fbf-4408-adc4-30add62e991f" providerId="ADAL" clId="{B99A90B8-7D29-4456-AFD4-0F3DBA13A596}" dt="2024-08-27T12:14:01.826" v="63228"/>
          <ac:spMkLst>
            <pc:docMk/>
            <pc:sldMk cId="0" sldId="274"/>
            <ac:spMk id="538" creationId="{41B09823-4DC9-085E-CD39-6663B3BF14F2}"/>
          </ac:spMkLst>
        </pc:spChg>
        <pc:spChg chg="add del mod modVis">
          <ac:chgData name="vonWaldow, Ulrich" userId="c64b3fe1-2fbf-4408-adc4-30add62e991f" providerId="ADAL" clId="{B99A90B8-7D29-4456-AFD4-0F3DBA13A596}" dt="2024-08-27T12:14:04.527" v="63342"/>
          <ac:spMkLst>
            <pc:docMk/>
            <pc:sldMk cId="0" sldId="274"/>
            <ac:spMk id="540" creationId="{3EB88B73-36F2-A332-DF05-C764704CB41A}"/>
          </ac:spMkLst>
        </pc:spChg>
        <pc:spChg chg="add del mod modVis">
          <ac:chgData name="vonWaldow, Ulrich" userId="c64b3fe1-2fbf-4408-adc4-30add62e991f" providerId="ADAL" clId="{B99A90B8-7D29-4456-AFD4-0F3DBA13A596}" dt="2024-08-27T12:14:06.298" v="63445"/>
          <ac:spMkLst>
            <pc:docMk/>
            <pc:sldMk cId="0" sldId="274"/>
            <ac:spMk id="542" creationId="{BB289980-C700-930B-F177-4BA996055AD0}"/>
          </ac:spMkLst>
        </pc:spChg>
        <pc:spChg chg="add del mod modVis">
          <ac:chgData name="vonWaldow, Ulrich" userId="c64b3fe1-2fbf-4408-adc4-30add62e991f" providerId="ADAL" clId="{B99A90B8-7D29-4456-AFD4-0F3DBA13A596}" dt="2024-08-27T12:14:11.862" v="63563"/>
          <ac:spMkLst>
            <pc:docMk/>
            <pc:sldMk cId="0" sldId="274"/>
            <ac:spMk id="544" creationId="{3FB3CAB1-7954-4947-A165-9ACD0907F978}"/>
          </ac:spMkLst>
        </pc:spChg>
        <pc:spChg chg="add del mod modVis">
          <ac:chgData name="vonWaldow, Ulrich" userId="c64b3fe1-2fbf-4408-adc4-30add62e991f" providerId="ADAL" clId="{B99A90B8-7D29-4456-AFD4-0F3DBA13A596}" dt="2024-08-27T12:14:14.547" v="63668"/>
          <ac:spMkLst>
            <pc:docMk/>
            <pc:sldMk cId="0" sldId="274"/>
            <ac:spMk id="546" creationId="{0D4E9319-A1D5-65D7-5451-37AC2F8E1B86}"/>
          </ac:spMkLst>
        </pc:spChg>
        <pc:spChg chg="add del mod modVis">
          <ac:chgData name="vonWaldow, Ulrich" userId="c64b3fe1-2fbf-4408-adc4-30add62e991f" providerId="ADAL" clId="{B99A90B8-7D29-4456-AFD4-0F3DBA13A596}" dt="2024-08-27T12:14:17.121" v="63772"/>
          <ac:spMkLst>
            <pc:docMk/>
            <pc:sldMk cId="0" sldId="274"/>
            <ac:spMk id="548" creationId="{162F5021-B447-BAB2-F158-DBBCA2C8E406}"/>
          </ac:spMkLst>
        </pc:spChg>
        <pc:spChg chg="add del mod modVis">
          <ac:chgData name="vonWaldow, Ulrich" userId="c64b3fe1-2fbf-4408-adc4-30add62e991f" providerId="ADAL" clId="{B99A90B8-7D29-4456-AFD4-0F3DBA13A596}" dt="2024-08-27T12:14:19.662" v="63883"/>
          <ac:spMkLst>
            <pc:docMk/>
            <pc:sldMk cId="0" sldId="274"/>
            <ac:spMk id="550" creationId="{DDF625F2-9AF3-27F8-244E-DE9727C1E221}"/>
          </ac:spMkLst>
        </pc:spChg>
        <pc:spChg chg="add del mod modVis">
          <ac:chgData name="vonWaldow, Ulrich" userId="c64b3fe1-2fbf-4408-adc4-30add62e991f" providerId="ADAL" clId="{B99A90B8-7D29-4456-AFD4-0F3DBA13A596}" dt="2024-08-27T12:14:22.617" v="63993"/>
          <ac:spMkLst>
            <pc:docMk/>
            <pc:sldMk cId="0" sldId="274"/>
            <ac:spMk id="552" creationId="{0AAB3826-732C-D15F-0DDC-02E394EF48E9}"/>
          </ac:spMkLst>
        </pc:spChg>
        <pc:spChg chg="add del mod modVis">
          <ac:chgData name="vonWaldow, Ulrich" userId="c64b3fe1-2fbf-4408-adc4-30add62e991f" providerId="ADAL" clId="{B99A90B8-7D29-4456-AFD4-0F3DBA13A596}" dt="2024-08-27T12:14:27.585" v="64183"/>
          <ac:spMkLst>
            <pc:docMk/>
            <pc:sldMk cId="0" sldId="274"/>
            <ac:spMk id="554" creationId="{0EE6EECF-4AB9-B081-11DD-CE60E5AAC8A6}"/>
          </ac:spMkLst>
        </pc:spChg>
        <pc:spChg chg="add del mod modVis">
          <ac:chgData name="vonWaldow, Ulrich" userId="c64b3fe1-2fbf-4408-adc4-30add62e991f" providerId="ADAL" clId="{B99A90B8-7D29-4456-AFD4-0F3DBA13A596}" dt="2024-08-27T12:14:30.057" v="64292"/>
          <ac:spMkLst>
            <pc:docMk/>
            <pc:sldMk cId="0" sldId="274"/>
            <ac:spMk id="556" creationId="{0C1B434C-D648-93E8-0E53-B9B8533C5747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59" creationId="{885BB0E1-24D7-9BEC-1378-FE07BAD85C8E}"/>
          </ac:spMkLst>
        </pc:spChg>
        <pc:spChg chg="add del mod">
          <ac:chgData name="vonWaldow, Ulrich" userId="c64b3fe1-2fbf-4408-adc4-30add62e991f" providerId="ADAL" clId="{B99A90B8-7D29-4456-AFD4-0F3DBA13A596}" dt="2024-08-27T12:17:32.212" v="64409" actId="478"/>
          <ac:spMkLst>
            <pc:docMk/>
            <pc:sldMk cId="0" sldId="274"/>
            <ac:spMk id="560" creationId="{A7187A9F-48A5-ADC4-BF18-898B43CE9214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1" creationId="{268A9E6F-FB81-1F9E-91F6-CF80357B3189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2" creationId="{E990FA52-CBC5-292C-E1EE-B8E920A0C315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3" creationId="{57F8D6D6-BECC-8600-9C22-848E908A8612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4" creationId="{53016017-32E0-D496-37A1-27E5EB5258FD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5" creationId="{4C43497A-648F-4301-29BA-A999E30ABBB8}"/>
          </ac:spMkLst>
        </pc:spChg>
        <pc:spChg chg="add del mod modVis">
          <ac:chgData name="vonWaldow, Ulrich" userId="c64b3fe1-2fbf-4408-adc4-30add62e991f" providerId="ADAL" clId="{B99A90B8-7D29-4456-AFD4-0F3DBA13A596}" dt="2024-08-27T12:17:50.590" v="64516"/>
          <ac:spMkLst>
            <pc:docMk/>
            <pc:sldMk cId="0" sldId="274"/>
            <ac:spMk id="566" creationId="{F3F62563-C369-CA0C-63A9-49E67C1085D5}"/>
          </ac:spMkLst>
        </pc:spChg>
        <pc:spChg chg="add del mod modVis">
          <ac:chgData name="vonWaldow, Ulrich" userId="c64b3fe1-2fbf-4408-adc4-30add62e991f" providerId="ADAL" clId="{B99A90B8-7D29-4456-AFD4-0F3DBA13A596}" dt="2024-08-27T12:18:12.063" v="66326"/>
          <ac:spMkLst>
            <pc:docMk/>
            <pc:sldMk cId="0" sldId="274"/>
            <ac:spMk id="570" creationId="{6562AE0C-7A1E-2881-AD1F-AD0BCF4F0B24}"/>
          </ac:spMkLst>
        </pc:spChg>
        <pc:spChg chg="add del mod modVis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2" creationId="{613167E1-E1E7-EE9E-5B34-FDB082CB4B19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3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4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5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6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7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8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9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0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1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2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5" creationId="{7D81E417-CC98-1B54-CA25-FE87B779502B}"/>
          </ac:spMkLst>
        </pc:spChg>
        <pc:spChg chg="add del mod modVis">
          <ac:chgData name="vonWaldow, Ulrich" userId="c64b3fe1-2fbf-4408-adc4-30add62e991f" providerId="ADAL" clId="{B99A90B8-7D29-4456-AFD4-0F3DBA13A596}" dt="2024-08-27T12:18:11.234" v="65709"/>
          <ac:spMkLst>
            <pc:docMk/>
            <pc:sldMk cId="0" sldId="274"/>
            <ac:spMk id="587" creationId="{CB8EFFD9-6930-BFA2-883A-BB7743A20CA3}"/>
          </ac:spMkLst>
        </pc:spChg>
        <pc:spChg chg="add del mod modVis">
          <ac:chgData name="vonWaldow, Ulrich" userId="c64b3fe1-2fbf-4408-adc4-30add62e991f" providerId="ADAL" clId="{B99A90B8-7D29-4456-AFD4-0F3DBA13A596}" dt="2024-08-27T12:18:19.030" v="66399"/>
          <ac:spMkLst>
            <pc:docMk/>
            <pc:sldMk cId="0" sldId="274"/>
            <ac:spMk id="589" creationId="{A1EEFEDC-3431-3B72-A772-BA07E86134B2}"/>
          </ac:spMkLst>
        </pc:spChg>
        <pc:spChg chg="add del mod modVis">
          <ac:chgData name="vonWaldow, Ulrich" userId="c64b3fe1-2fbf-4408-adc4-30add62e991f" providerId="ADAL" clId="{B99A90B8-7D29-4456-AFD4-0F3DBA13A596}" dt="2024-08-27T12:18:33.257" v="66542"/>
          <ac:spMkLst>
            <pc:docMk/>
            <pc:sldMk cId="0" sldId="274"/>
            <ac:spMk id="590" creationId="{AC0E3460-5E79-BFCB-3114-7FB3DC9E1392}"/>
          </ac:spMkLst>
        </pc:spChg>
        <pc:spChg chg="add del mod modVis">
          <ac:chgData name="vonWaldow, Ulrich" userId="c64b3fe1-2fbf-4408-adc4-30add62e991f" providerId="ADAL" clId="{B99A90B8-7D29-4456-AFD4-0F3DBA13A596}" dt="2024-08-27T12:18:35.927" v="66657"/>
          <ac:spMkLst>
            <pc:docMk/>
            <pc:sldMk cId="0" sldId="274"/>
            <ac:spMk id="592" creationId="{33DC3614-4528-08F6-AB4A-68609DDD278C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4" creationId="{10D9CA3C-1D9D-CDF8-6814-C3FCE2ECB953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5" creationId="{1E98227E-D7B3-13A9-F868-6CBB91ED009C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6" creationId="{BBE18146-4559-5009-38E8-644B4E76414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7" creationId="{74164F12-9DCB-35A0-DC8D-D8FF62D57346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8" creationId="{9DDE304A-7CC3-2E1C-EC54-F82DCF81E5F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9" creationId="{BC4B83D2-73A4-48A0-5204-3603EAB5DA67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0" creationId="{C1CDCD25-08D9-E58C-9EC0-6FD56B80A70A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1" creationId="{B37CFFAA-456E-00F7-5CC4-89BAF9815525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2" creationId="{D950282B-BD6C-FCF1-EFB1-42C88599E8EF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3" creationId="{061C4344-3934-89D7-1020-FA1392C42DF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4" creationId="{7B52A6E7-5325-A2F2-B10C-D70F3939F145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5" creationId="{1CD8F0C8-D7C8-CFD8-E8F9-1F8994325D76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6" creationId="{02DC501D-DC78-5CAB-1FF7-71E65335F177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7" creationId="{D2990A8C-B96E-D73B-4697-457502D66671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8" creationId="{799CF9D6-4B3B-6824-D271-F1E23F9165A4}"/>
          </ac:spMkLst>
        </pc:spChg>
        <pc:spChg chg="add mod ord">
          <ac:chgData name="vonWaldow, Ulrich" userId="c64b3fe1-2fbf-4408-adc4-30add62e991f" providerId="ADAL" clId="{B99A90B8-7D29-4456-AFD4-0F3DBA13A596}" dt="2024-08-27T12:42:29.359" v="93630"/>
          <ac:spMkLst>
            <pc:docMk/>
            <pc:sldMk cId="0" sldId="274"/>
            <ac:spMk id="609" creationId="{BA64F4CE-E09B-DC9D-85DA-B9D603274BBB}"/>
          </ac:spMkLst>
        </pc:spChg>
        <pc:spChg chg="add del mod modVis">
          <ac:chgData name="vonWaldow, Ulrich" userId="c64b3fe1-2fbf-4408-adc4-30add62e991f" providerId="ADAL" clId="{B99A90B8-7D29-4456-AFD4-0F3DBA13A596}" dt="2024-08-27T12:18:40.197" v="66682"/>
          <ac:spMkLst>
            <pc:docMk/>
            <pc:sldMk cId="0" sldId="274"/>
            <ac:spMk id="610" creationId="{4F968459-8357-6F5E-3BC0-4CA1B853D660}"/>
          </ac:spMkLst>
        </pc:spChg>
        <pc:spChg chg="add del mod modVis">
          <ac:chgData name="vonWaldow, Ulrich" userId="c64b3fe1-2fbf-4408-adc4-30add62e991f" providerId="ADAL" clId="{B99A90B8-7D29-4456-AFD4-0F3DBA13A596}" dt="2024-08-27T12:42:28.283" v="93538"/>
          <ac:spMkLst>
            <pc:docMk/>
            <pc:sldMk cId="0" sldId="274"/>
            <ac:spMk id="611" creationId="{D5EF75EA-4782-14BD-2A1E-9A707F87481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5"/>
          <ac:spMkLst>
            <pc:docMk/>
            <pc:sldMk cId="0" sldId="274"/>
            <ac:spMk id="61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6"/>
          <ac:spMkLst>
            <pc:docMk/>
            <pc:sldMk cId="0" sldId="274"/>
            <ac:spMk id="61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7"/>
          <ac:spMkLst>
            <pc:docMk/>
            <pc:sldMk cId="0" sldId="274"/>
            <ac:spMk id="61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8"/>
          <ac:spMkLst>
            <pc:docMk/>
            <pc:sldMk cId="0" sldId="274"/>
            <ac:spMk id="61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9"/>
          <ac:spMkLst>
            <pc:docMk/>
            <pc:sldMk cId="0" sldId="274"/>
            <ac:spMk id="61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0"/>
          <ac:spMkLst>
            <pc:docMk/>
            <pc:sldMk cId="0" sldId="274"/>
            <ac:spMk id="61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1"/>
          <ac:spMkLst>
            <pc:docMk/>
            <pc:sldMk cId="0" sldId="274"/>
            <ac:spMk id="61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2"/>
          <ac:spMkLst>
            <pc:docMk/>
            <pc:sldMk cId="0" sldId="274"/>
            <ac:spMk id="6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3"/>
          <ac:spMkLst>
            <pc:docMk/>
            <pc:sldMk cId="0" sldId="274"/>
            <ac:spMk id="6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4"/>
          <ac:spMkLst>
            <pc:docMk/>
            <pc:sldMk cId="0" sldId="274"/>
            <ac:spMk id="6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5"/>
          <ac:spMkLst>
            <pc:docMk/>
            <pc:sldMk cId="0" sldId="274"/>
            <ac:spMk id="62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2:29.375" v="93660"/>
          <ac:spMkLst>
            <pc:docMk/>
            <pc:sldMk cId="0" sldId="274"/>
            <ac:spMk id="624" creationId="{3FF23608-D787-B8B7-C00D-DC9F28433658}"/>
          </ac:spMkLst>
        </pc:spChg>
        <pc:grpChg chg="add mod ord replST">
          <ac:chgData name="vonWaldow, Ulrich" userId="c64b3fe1-2fbf-4408-adc4-30add62e991f" providerId="ADAL" clId="{B99A90B8-7D29-4456-AFD4-0F3DBA13A596}" dt="2024-08-27T12:42:29.375" v="93654"/>
          <ac:grpSpMkLst>
            <pc:docMk/>
            <pc:sldMk cId="0" sldId="274"/>
            <ac:grpSpMk id="569" creationId="{234CA742-8905-833A-5659-441749B3DC1C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7T12:42:29.390" v="93662"/>
          <ac:graphicFrameMkLst>
            <pc:docMk/>
            <pc:sldMk cId="0" sldId="274"/>
            <ac:graphicFrameMk id="19" creationId="{AD6D4D6E-3B7E-5322-FAC9-39D69A4FC9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27.188" v="36165"/>
          <ac:graphicFrameMkLst>
            <pc:docMk/>
            <pc:sldMk cId="0" sldId="274"/>
            <ac:graphicFrameMk id="34" creationId="{16E7CD19-516C-731F-B8A7-007B3F0DAC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0.552" v="36330"/>
          <ac:graphicFrameMkLst>
            <pc:docMk/>
            <pc:sldMk cId="0" sldId="274"/>
            <ac:graphicFrameMk id="36" creationId="{9C61D176-4A23-335A-96BB-DF261356478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0.712" v="36472"/>
          <ac:graphicFrameMkLst>
            <pc:docMk/>
            <pc:sldMk cId="0" sldId="274"/>
            <ac:graphicFrameMk id="41" creationId="{ADD7339B-9500-0591-92D7-972E6F06DA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103" v="36604"/>
          <ac:graphicFrameMkLst>
            <pc:docMk/>
            <pc:sldMk cId="0" sldId="274"/>
            <ac:graphicFrameMk id="43" creationId="{06E31477-C704-6059-85EE-27633959485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418" v="36767"/>
          <ac:graphicFrameMkLst>
            <pc:docMk/>
            <pc:sldMk cId="0" sldId="274"/>
            <ac:graphicFrameMk id="45" creationId="{153C59C7-6552-7867-5777-9A20863AE49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981" v="36877"/>
          <ac:graphicFrameMkLst>
            <pc:docMk/>
            <pc:sldMk cId="0" sldId="274"/>
            <ac:graphicFrameMk id="48" creationId="{ED2ED0CB-271A-2760-D249-147A55210B0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4.310" v="36997"/>
          <ac:graphicFrameMkLst>
            <pc:docMk/>
            <pc:sldMk cId="0" sldId="274"/>
            <ac:graphicFrameMk id="50" creationId="{9ECB0350-55AE-2F74-D1B9-744DA2B1E4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184" v="37186"/>
          <ac:graphicFrameMkLst>
            <pc:docMk/>
            <pc:sldMk cId="0" sldId="274"/>
            <ac:graphicFrameMk id="52" creationId="{9BC0984B-5290-3EF6-40A5-755F5462B6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483" v="37328"/>
          <ac:graphicFrameMkLst>
            <pc:docMk/>
            <pc:sldMk cId="0" sldId="274"/>
            <ac:graphicFrameMk id="59" creationId="{9E909CE5-6389-36CE-7305-983B62C5025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962" v="37494"/>
          <ac:graphicFrameMkLst>
            <pc:docMk/>
            <pc:sldMk cId="0" sldId="274"/>
            <ac:graphicFrameMk id="61" creationId="{76A244F5-1BEB-C593-78EA-A29BAB467C9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6.182" v="37622"/>
          <ac:graphicFrameMkLst>
            <pc:docMk/>
            <pc:sldMk cId="0" sldId="274"/>
            <ac:graphicFrameMk id="67" creationId="{034375F6-0F20-741D-0381-3BEE7BFC502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01.905" v="37758"/>
          <ac:graphicFrameMkLst>
            <pc:docMk/>
            <pc:sldMk cId="0" sldId="274"/>
            <ac:graphicFrameMk id="69" creationId="{04C63910-B62E-6ACF-C574-FEC554E8912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02.096" v="37929"/>
          <ac:graphicFrameMkLst>
            <pc:docMk/>
            <pc:sldMk cId="0" sldId="274"/>
            <ac:graphicFrameMk id="71" creationId="{AE325765-D500-02CF-47A7-6493F043307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5.553" v="38043"/>
          <ac:graphicFrameMkLst>
            <pc:docMk/>
            <pc:sldMk cId="0" sldId="274"/>
            <ac:graphicFrameMk id="75" creationId="{A22B2F8D-E426-68D0-78F6-D86DD26E88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5.737" v="38177"/>
          <ac:graphicFrameMkLst>
            <pc:docMk/>
            <pc:sldMk cId="0" sldId="274"/>
            <ac:graphicFrameMk id="77" creationId="{46282D8D-AB38-CF11-AFB6-1485A09FF5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7.227" v="38287"/>
          <ac:graphicFrameMkLst>
            <pc:docMk/>
            <pc:sldMk cId="0" sldId="274"/>
            <ac:graphicFrameMk id="79" creationId="{DB816F41-751F-2D71-87CF-5FBF3B28F3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7.397" v="38426"/>
          <ac:graphicFrameMkLst>
            <pc:docMk/>
            <pc:sldMk cId="0" sldId="274"/>
            <ac:graphicFrameMk id="81" creationId="{4C5015A5-1471-0367-E017-6272655F21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1.180" v="38534"/>
          <ac:graphicFrameMkLst>
            <pc:docMk/>
            <pc:sldMk cId="0" sldId="274"/>
            <ac:graphicFrameMk id="84" creationId="{45AD2D72-AD0C-1D6D-5616-945308EC96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1.385" v="38681"/>
          <ac:graphicFrameMkLst>
            <pc:docMk/>
            <pc:sldMk cId="0" sldId="274"/>
            <ac:graphicFrameMk id="86" creationId="{886463F4-B1BE-97E9-1082-E5E021013E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3.514" v="38783"/>
          <ac:graphicFrameMkLst>
            <pc:docMk/>
            <pc:sldMk cId="0" sldId="274"/>
            <ac:graphicFrameMk id="89" creationId="{288B83D8-0087-CEE4-420F-982569EAAF7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3.663" v="38883"/>
          <ac:graphicFrameMkLst>
            <pc:docMk/>
            <pc:sldMk cId="0" sldId="274"/>
            <ac:graphicFrameMk id="91" creationId="{54797F07-F720-A12F-8BED-4A644E12D2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103" v="38983"/>
          <ac:graphicFrameMkLst>
            <pc:docMk/>
            <pc:sldMk cId="0" sldId="274"/>
            <ac:graphicFrameMk id="93" creationId="{0C529589-865B-BC78-7544-A4BFD08463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275" v="39083"/>
          <ac:graphicFrameMkLst>
            <pc:docMk/>
            <pc:sldMk cId="0" sldId="274"/>
            <ac:graphicFrameMk id="95" creationId="{B51B0CE8-6F9B-1FC0-3320-10C59FD630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758" v="39183"/>
          <ac:graphicFrameMkLst>
            <pc:docMk/>
            <pc:sldMk cId="0" sldId="274"/>
            <ac:graphicFrameMk id="97" creationId="{8493E401-4A32-DA05-87A4-8AE335A113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946" v="39283"/>
          <ac:graphicFrameMkLst>
            <pc:docMk/>
            <pc:sldMk cId="0" sldId="274"/>
            <ac:graphicFrameMk id="99" creationId="{C1F6FFA8-D73E-DAC7-9694-E528864C20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8.064" v="39383"/>
          <ac:graphicFrameMkLst>
            <pc:docMk/>
            <pc:sldMk cId="0" sldId="274"/>
            <ac:graphicFrameMk id="101" creationId="{1828BDBA-7A5F-D7EF-557A-CD16010CC8B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8.189" v="39483"/>
          <ac:graphicFrameMkLst>
            <pc:docMk/>
            <pc:sldMk cId="0" sldId="274"/>
            <ac:graphicFrameMk id="103" creationId="{D717C402-0F4F-6E0F-1CF8-C9C09FB22C5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9.717" v="39583"/>
          <ac:graphicFrameMkLst>
            <pc:docMk/>
            <pc:sldMk cId="0" sldId="274"/>
            <ac:graphicFrameMk id="105" creationId="{7DC55FD5-F3B5-33F9-E10F-5385E4E214C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9.827" v="39683"/>
          <ac:graphicFrameMkLst>
            <pc:docMk/>
            <pc:sldMk cId="0" sldId="274"/>
            <ac:graphicFrameMk id="107" creationId="{4EDA06C8-D5DE-D1BB-551E-8782401F9A4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3.872" v="39783"/>
          <ac:graphicFrameMkLst>
            <pc:docMk/>
            <pc:sldMk cId="0" sldId="274"/>
            <ac:graphicFrameMk id="109" creationId="{6B371BEB-26FE-4CAB-6D6E-DAC18F4EFBC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3.972" v="39883"/>
          <ac:graphicFrameMkLst>
            <pc:docMk/>
            <pc:sldMk cId="0" sldId="274"/>
            <ac:graphicFrameMk id="111" creationId="{42FC963B-1B8A-E5F1-45D1-03768A27121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8.323" v="39983"/>
          <ac:graphicFrameMkLst>
            <pc:docMk/>
            <pc:sldMk cId="0" sldId="274"/>
            <ac:graphicFrameMk id="113" creationId="{4599E55E-541C-BA30-8036-3300ADB84A8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8.608" v="40083"/>
          <ac:graphicFrameMkLst>
            <pc:docMk/>
            <pc:sldMk cId="0" sldId="274"/>
            <ac:graphicFrameMk id="115" creationId="{AAF9C401-9DD5-2D49-819A-872DE48032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0.818" v="40183"/>
          <ac:graphicFrameMkLst>
            <pc:docMk/>
            <pc:sldMk cId="0" sldId="274"/>
            <ac:graphicFrameMk id="117" creationId="{D3A63BDF-C938-1AB4-C058-FD13F210CF1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0.993" v="40283"/>
          <ac:graphicFrameMkLst>
            <pc:docMk/>
            <pc:sldMk cId="0" sldId="274"/>
            <ac:graphicFrameMk id="119" creationId="{32703EB2-F72C-74A6-3D04-904B749D99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3.356" v="40383"/>
          <ac:graphicFrameMkLst>
            <pc:docMk/>
            <pc:sldMk cId="0" sldId="274"/>
            <ac:graphicFrameMk id="121" creationId="{C010522B-2221-EFA4-CA3B-49EEBD4E55C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3.631" v="40483"/>
          <ac:graphicFrameMkLst>
            <pc:docMk/>
            <pc:sldMk cId="0" sldId="274"/>
            <ac:graphicFrameMk id="123" creationId="{BDBB1BBE-4510-B1F4-C784-EC44EB4021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2.456" v="40583"/>
          <ac:graphicFrameMkLst>
            <pc:docMk/>
            <pc:sldMk cId="0" sldId="274"/>
            <ac:graphicFrameMk id="125" creationId="{8C2EC186-BFB1-FEAE-5860-D9C86A544A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2.566" v="40683"/>
          <ac:graphicFrameMkLst>
            <pc:docMk/>
            <pc:sldMk cId="0" sldId="274"/>
            <ac:graphicFrameMk id="127" creationId="{E5ECFBA4-B6A1-E952-A45E-F8C9AB44B03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3.760" v="40783"/>
          <ac:graphicFrameMkLst>
            <pc:docMk/>
            <pc:sldMk cId="0" sldId="274"/>
            <ac:graphicFrameMk id="129" creationId="{2528938E-BF40-5B34-529A-60FE8F060E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3.903" v="40883"/>
          <ac:graphicFrameMkLst>
            <pc:docMk/>
            <pc:sldMk cId="0" sldId="274"/>
            <ac:graphicFrameMk id="131" creationId="{EB9725CB-D79C-4409-6E25-189E037E5D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6.684" v="40983"/>
          <ac:graphicFrameMkLst>
            <pc:docMk/>
            <pc:sldMk cId="0" sldId="274"/>
            <ac:graphicFrameMk id="133" creationId="{311F8992-BDCC-A027-2A5D-8E20F1799BD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6.873" v="41083"/>
          <ac:graphicFrameMkLst>
            <pc:docMk/>
            <pc:sldMk cId="0" sldId="274"/>
            <ac:graphicFrameMk id="135" creationId="{E36796B5-6D5F-8AA9-5984-B297F0BAE06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119" v="41183"/>
          <ac:graphicFrameMkLst>
            <pc:docMk/>
            <pc:sldMk cId="0" sldId="274"/>
            <ac:graphicFrameMk id="137" creationId="{01A10B87-2382-47F8-461A-CC0696D4B4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253" v="41283"/>
          <ac:graphicFrameMkLst>
            <pc:docMk/>
            <pc:sldMk cId="0" sldId="274"/>
            <ac:graphicFrameMk id="139" creationId="{22E81AD7-5ACD-1A00-8DEC-274C927473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889" v="41383"/>
          <ac:graphicFrameMkLst>
            <pc:docMk/>
            <pc:sldMk cId="0" sldId="274"/>
            <ac:graphicFrameMk id="141" creationId="{D44AF781-41C9-82DF-1339-19F95BB285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096" v="41483"/>
          <ac:graphicFrameMkLst>
            <pc:docMk/>
            <pc:sldMk cId="0" sldId="274"/>
            <ac:graphicFrameMk id="143" creationId="{67B88390-538A-597C-F3EA-43B45E302A0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571" v="41583"/>
          <ac:graphicFrameMkLst>
            <pc:docMk/>
            <pc:sldMk cId="0" sldId="274"/>
            <ac:graphicFrameMk id="145" creationId="{0294E1DE-0DA5-1B82-A9F3-572A97B023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731" v="41683"/>
          <ac:graphicFrameMkLst>
            <pc:docMk/>
            <pc:sldMk cId="0" sldId="274"/>
            <ac:graphicFrameMk id="147" creationId="{EBF84176-DDF7-36EF-697C-AC4E0E61AF5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1.801" v="41785"/>
          <ac:graphicFrameMkLst>
            <pc:docMk/>
            <pc:sldMk cId="0" sldId="274"/>
            <ac:graphicFrameMk id="149" creationId="{B1A389C7-7731-0931-3AE7-FA86885EB4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2.005" v="41885"/>
          <ac:graphicFrameMkLst>
            <pc:docMk/>
            <pc:sldMk cId="0" sldId="274"/>
            <ac:graphicFrameMk id="151" creationId="{8BBB4DDF-3D47-0E63-C159-F72D735073D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179" v="41987"/>
          <ac:graphicFrameMkLst>
            <pc:docMk/>
            <pc:sldMk cId="0" sldId="274"/>
            <ac:graphicFrameMk id="153" creationId="{484E8B6A-52B0-BBA6-41A8-9C467E27CF1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336" v="42087"/>
          <ac:graphicFrameMkLst>
            <pc:docMk/>
            <pc:sldMk cId="0" sldId="274"/>
            <ac:graphicFrameMk id="155" creationId="{ACBCC44B-63CD-694B-2C9C-61144A6A2A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962" v="42187"/>
          <ac:graphicFrameMkLst>
            <pc:docMk/>
            <pc:sldMk cId="0" sldId="274"/>
            <ac:graphicFrameMk id="157" creationId="{1C132BA8-C7F3-2DD6-2010-3E6AB705973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5.119" v="42287"/>
          <ac:graphicFrameMkLst>
            <pc:docMk/>
            <pc:sldMk cId="0" sldId="274"/>
            <ac:graphicFrameMk id="159" creationId="{A5A734F7-BA2C-2838-030D-7229D08C4F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1.374" v="42387"/>
          <ac:graphicFrameMkLst>
            <pc:docMk/>
            <pc:sldMk cId="0" sldId="274"/>
            <ac:graphicFrameMk id="161" creationId="{3288326E-EEA7-9CA0-15F2-6BE2E443EE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1.484" v="42487"/>
          <ac:graphicFrameMkLst>
            <pc:docMk/>
            <pc:sldMk cId="0" sldId="274"/>
            <ac:graphicFrameMk id="163" creationId="{BEB284D3-6875-6DBA-0B62-93FD3D31304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3.547" v="42587"/>
          <ac:graphicFrameMkLst>
            <pc:docMk/>
            <pc:sldMk cId="0" sldId="274"/>
            <ac:graphicFrameMk id="165" creationId="{A867BADC-DE33-AE0C-8388-5F07392680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3.712" v="42687"/>
          <ac:graphicFrameMkLst>
            <pc:docMk/>
            <pc:sldMk cId="0" sldId="274"/>
            <ac:graphicFrameMk id="167" creationId="{45043BA6-ACE6-A252-D097-AF81F5197C8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1.063" v="42787"/>
          <ac:graphicFrameMkLst>
            <pc:docMk/>
            <pc:sldMk cId="0" sldId="274"/>
            <ac:graphicFrameMk id="169" creationId="{5E19E3B0-8E7B-3ACC-F67B-EEB25328AFE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1.205" v="42912"/>
          <ac:graphicFrameMkLst>
            <pc:docMk/>
            <pc:sldMk cId="0" sldId="274"/>
            <ac:graphicFrameMk id="171" creationId="{7712FCFD-F4CB-EB9C-A4BF-9BEB443DF65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9.399" v="43014"/>
          <ac:graphicFrameMkLst>
            <pc:docMk/>
            <pc:sldMk cId="0" sldId="274"/>
            <ac:graphicFrameMk id="174" creationId="{3A3EF437-E8C6-71BC-00C5-F5B3614216F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9.524" v="43132"/>
          <ac:graphicFrameMkLst>
            <pc:docMk/>
            <pc:sldMk cId="0" sldId="274"/>
            <ac:graphicFrameMk id="176" creationId="{8DD093D1-441C-D76B-CDAF-6BC5B57337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55.669" v="43232"/>
          <ac:graphicFrameMkLst>
            <pc:docMk/>
            <pc:sldMk cId="0" sldId="274"/>
            <ac:graphicFrameMk id="178" creationId="{6EF0103D-5A16-7205-7A45-0963E0B6E7B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55.834" v="43361"/>
          <ac:graphicFrameMkLst>
            <pc:docMk/>
            <pc:sldMk cId="0" sldId="274"/>
            <ac:graphicFrameMk id="180" creationId="{6BBE6C29-9AC0-AE70-137C-638310107E9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2.110" v="43461"/>
          <ac:graphicFrameMkLst>
            <pc:docMk/>
            <pc:sldMk cId="0" sldId="274"/>
            <ac:graphicFrameMk id="183" creationId="{D384AC9A-65D3-AD58-D503-0EB35279ED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2.215" v="43581"/>
          <ac:graphicFrameMkLst>
            <pc:docMk/>
            <pc:sldMk cId="0" sldId="274"/>
            <ac:graphicFrameMk id="185" creationId="{3D8C2974-485C-D2FB-B9AA-B9F86F624B6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5.315" v="43683"/>
          <ac:graphicFrameMkLst>
            <pc:docMk/>
            <pc:sldMk cId="0" sldId="274"/>
            <ac:graphicFrameMk id="187" creationId="{F58C689F-076E-DBA5-504A-0BA89BB56C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5.466" v="43826"/>
          <ac:graphicFrameMkLst>
            <pc:docMk/>
            <pc:sldMk cId="0" sldId="274"/>
            <ac:graphicFrameMk id="189" creationId="{23A987B6-B254-E117-73EC-E922AF8AEAD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7.690" v="43930"/>
          <ac:graphicFrameMkLst>
            <pc:docMk/>
            <pc:sldMk cId="0" sldId="274"/>
            <ac:graphicFrameMk id="192" creationId="{61BEAEBF-D015-FA3C-3664-3C2D04771B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7.879" v="44066"/>
          <ac:graphicFrameMkLst>
            <pc:docMk/>
            <pc:sldMk cId="0" sldId="274"/>
            <ac:graphicFrameMk id="194" creationId="{316083BB-ADF9-14DD-0E97-69D4D0A47A9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18.273" v="44170"/>
          <ac:graphicFrameMkLst>
            <pc:docMk/>
            <pc:sldMk cId="0" sldId="274"/>
            <ac:graphicFrameMk id="196" creationId="{8C8CF82A-AA16-0C81-B638-885E3034217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18.399" v="44323"/>
          <ac:graphicFrameMkLst>
            <pc:docMk/>
            <pc:sldMk cId="0" sldId="274"/>
            <ac:graphicFrameMk id="198" creationId="{B7B41201-729D-748C-5246-FE8D6D75134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0.243" v="44431"/>
          <ac:graphicFrameMkLst>
            <pc:docMk/>
            <pc:sldMk cId="0" sldId="274"/>
            <ac:graphicFrameMk id="201" creationId="{40E2DA86-6D1E-7958-EFD4-38A9759864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0.368" v="44539"/>
          <ac:graphicFrameMkLst>
            <pc:docMk/>
            <pc:sldMk cId="0" sldId="274"/>
            <ac:graphicFrameMk id="203" creationId="{AE69D31D-C2EC-46AC-823E-05AC3EF5E2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3.417" v="44647"/>
          <ac:graphicFrameMkLst>
            <pc:docMk/>
            <pc:sldMk cId="0" sldId="274"/>
            <ac:graphicFrameMk id="205" creationId="{85F0E380-3D87-AAF5-7844-645C4D7F999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3.561" v="44755"/>
          <ac:graphicFrameMkLst>
            <pc:docMk/>
            <pc:sldMk cId="0" sldId="274"/>
            <ac:graphicFrameMk id="207" creationId="{C47FCF59-BFC4-63F9-534B-F1C1E46F81F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8.765" v="44863"/>
          <ac:graphicFrameMkLst>
            <pc:docMk/>
            <pc:sldMk cId="0" sldId="274"/>
            <ac:graphicFrameMk id="209" creationId="{695FED5B-B0F8-ECF3-9E9B-B6FFA935CFF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8.992" v="44981"/>
          <ac:graphicFrameMkLst>
            <pc:docMk/>
            <pc:sldMk cId="0" sldId="274"/>
            <ac:graphicFrameMk id="211" creationId="{FE7FED7E-17D8-7013-C59C-D0A65F4AE46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38.871" v="45089"/>
          <ac:graphicFrameMkLst>
            <pc:docMk/>
            <pc:sldMk cId="0" sldId="274"/>
            <ac:graphicFrameMk id="213" creationId="{61EC8686-FA6F-4970-CA2C-411E2E867F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38.973" v="45197"/>
          <ac:graphicFrameMkLst>
            <pc:docMk/>
            <pc:sldMk cId="0" sldId="274"/>
            <ac:graphicFrameMk id="215" creationId="{91969DB5-25C1-9736-6385-F955E93A2B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46.507" v="45305"/>
          <ac:graphicFrameMkLst>
            <pc:docMk/>
            <pc:sldMk cId="0" sldId="274"/>
            <ac:graphicFrameMk id="217" creationId="{D555379C-6BA4-0188-6FD0-4B1B540CB19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46.617" v="45413"/>
          <ac:graphicFrameMkLst>
            <pc:docMk/>
            <pc:sldMk cId="0" sldId="274"/>
            <ac:graphicFrameMk id="219" creationId="{2A51DE28-DB1B-F08C-FB83-49552DFC2B8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1.908" v="45593"/>
          <ac:graphicFrameMkLst>
            <pc:docMk/>
            <pc:sldMk cId="0" sldId="274"/>
            <ac:graphicFrameMk id="221" creationId="{11AA0FB2-1B5F-7F5F-E7A3-64C7112C2BB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2.065" v="45763"/>
          <ac:graphicFrameMkLst>
            <pc:docMk/>
            <pc:sldMk cId="0" sldId="274"/>
            <ac:graphicFrameMk id="227" creationId="{FEBAE9C7-AB2D-C0D6-D129-ECD9C8A416A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3.163" v="45912"/>
          <ac:graphicFrameMkLst>
            <pc:docMk/>
            <pc:sldMk cId="0" sldId="274"/>
            <ac:graphicFrameMk id="231" creationId="{2203E30C-93A6-4E3B-4956-6FA004054A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3.383" v="46086"/>
          <ac:graphicFrameMkLst>
            <pc:docMk/>
            <pc:sldMk cId="0" sldId="274"/>
            <ac:graphicFrameMk id="234" creationId="{1DCD62AE-7A29-3512-76DC-6674F9333EC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7.245" v="46223"/>
          <ac:graphicFrameMkLst>
            <pc:docMk/>
            <pc:sldMk cId="0" sldId="274"/>
            <ac:graphicFrameMk id="236" creationId="{1CFCA07E-1100-8C3E-04C2-303717D39AE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7.454" v="46351"/>
          <ac:graphicFrameMkLst>
            <pc:docMk/>
            <pc:sldMk cId="0" sldId="274"/>
            <ac:graphicFrameMk id="239" creationId="{2A372BFD-65CB-885C-0DCB-D6BA6BB4843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4.836" v="46463"/>
          <ac:graphicFrameMkLst>
            <pc:docMk/>
            <pc:sldMk cId="0" sldId="274"/>
            <ac:graphicFrameMk id="241" creationId="{8E6BEA3F-6188-392F-50E2-23805D688CB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5.105" v="46575"/>
          <ac:graphicFrameMkLst>
            <pc:docMk/>
            <pc:sldMk cId="0" sldId="274"/>
            <ac:graphicFrameMk id="243" creationId="{5B09A1BE-53CE-2AFA-2C66-BD1C9BBDE58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7.854" v="46687"/>
          <ac:graphicFrameMkLst>
            <pc:docMk/>
            <pc:sldMk cId="0" sldId="274"/>
            <ac:graphicFrameMk id="245" creationId="{2456EC35-4377-BE11-7A57-D00F6D29A2A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8.123" v="46799"/>
          <ac:graphicFrameMkLst>
            <pc:docMk/>
            <pc:sldMk cId="0" sldId="274"/>
            <ac:graphicFrameMk id="247" creationId="{FC2AFA3D-E788-F616-EF9D-C4410D1D2A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0.575" v="46911"/>
          <ac:graphicFrameMkLst>
            <pc:docMk/>
            <pc:sldMk cId="0" sldId="274"/>
            <ac:graphicFrameMk id="249" creationId="{0ED45201-D32C-F840-1DE0-265A3DF8425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0.872" v="47023"/>
          <ac:graphicFrameMkLst>
            <pc:docMk/>
            <pc:sldMk cId="0" sldId="274"/>
            <ac:graphicFrameMk id="251" creationId="{7530AEAB-C8DB-1EE6-6CA2-8A14773D2C3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4.828" v="47135"/>
          <ac:graphicFrameMkLst>
            <pc:docMk/>
            <pc:sldMk cId="0" sldId="274"/>
            <ac:graphicFrameMk id="253" creationId="{F566AA86-3184-B3CE-5BFF-B847B52628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5.044" v="47247"/>
          <ac:graphicFrameMkLst>
            <pc:docMk/>
            <pc:sldMk cId="0" sldId="274"/>
            <ac:graphicFrameMk id="255" creationId="{82A9E6EB-EA56-6A15-18DD-04D091C5AE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7.143" v="47359"/>
          <ac:graphicFrameMkLst>
            <pc:docMk/>
            <pc:sldMk cId="0" sldId="274"/>
            <ac:graphicFrameMk id="257" creationId="{E05DB26D-9E98-7E0C-04B0-306FFCB3A7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7.363" v="47471"/>
          <ac:graphicFrameMkLst>
            <pc:docMk/>
            <pc:sldMk cId="0" sldId="274"/>
            <ac:graphicFrameMk id="259" creationId="{A0AB3524-DCAB-B5BC-66C7-AF412C67744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0:30.762" v="47600"/>
          <ac:graphicFrameMkLst>
            <pc:docMk/>
            <pc:sldMk cId="0" sldId="274"/>
            <ac:graphicFrameMk id="261" creationId="{592CFBC4-5127-820A-3779-6DF0686F6AB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0:30.941" v="47724"/>
          <ac:graphicFrameMkLst>
            <pc:docMk/>
            <pc:sldMk cId="0" sldId="274"/>
            <ac:graphicFrameMk id="263" creationId="{ADB80343-8C9C-5385-B6AE-0AAFD6E7019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3.710" v="47853"/>
          <ac:graphicFrameMkLst>
            <pc:docMk/>
            <pc:sldMk cId="0" sldId="274"/>
            <ac:graphicFrameMk id="265" creationId="{CE7197EB-9982-C541-E5D2-91945B7C7C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4.355" v="47977"/>
          <ac:graphicFrameMkLst>
            <pc:docMk/>
            <pc:sldMk cId="0" sldId="274"/>
            <ac:graphicFrameMk id="267" creationId="{F9B36E39-93A1-C4AB-D6FA-AE5F3B9B62E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9.990" v="48106"/>
          <ac:graphicFrameMkLst>
            <pc:docMk/>
            <pc:sldMk cId="0" sldId="274"/>
            <ac:graphicFrameMk id="269" creationId="{58756C34-E0B5-7FB6-896A-997BF9DFFA6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10.372" v="48230"/>
          <ac:graphicFrameMkLst>
            <pc:docMk/>
            <pc:sldMk cId="0" sldId="274"/>
            <ac:graphicFrameMk id="271" creationId="{6CCC56A0-1EBF-6CD9-3499-9E883DB546D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0.695" v="48414"/>
          <ac:graphicFrameMkLst>
            <pc:docMk/>
            <pc:sldMk cId="0" sldId="274"/>
            <ac:graphicFrameMk id="273" creationId="{E53C3AB7-4782-3476-86CB-D79C7F815AA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1.006" v="48526"/>
          <ac:graphicFrameMkLst>
            <pc:docMk/>
            <pc:sldMk cId="0" sldId="274"/>
            <ac:graphicFrameMk id="275" creationId="{4CBB3424-9FC4-0100-26AD-1DF47C2276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2.464" v="48732"/>
          <ac:graphicFrameMkLst>
            <pc:docMk/>
            <pc:sldMk cId="0" sldId="274"/>
            <ac:graphicFrameMk id="277" creationId="{F6209D30-2EF1-D22F-CAA5-6665236E52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2.919" v="48919"/>
          <ac:graphicFrameMkLst>
            <pc:docMk/>
            <pc:sldMk cId="0" sldId="274"/>
            <ac:graphicFrameMk id="282" creationId="{71BC087D-46ED-3413-311B-BFE6468E6E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5.432" v="49072"/>
          <ac:graphicFrameMkLst>
            <pc:docMk/>
            <pc:sldMk cId="0" sldId="274"/>
            <ac:graphicFrameMk id="285" creationId="{0380D15F-13A9-43F2-CA78-A7B9959469D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5.950" v="49269"/>
          <ac:graphicFrameMkLst>
            <pc:docMk/>
            <pc:sldMk cId="0" sldId="274"/>
            <ac:graphicFrameMk id="287" creationId="{495AC9CE-614D-FE70-E1EA-EDF470BDEB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18.998" v="49436"/>
          <ac:graphicFrameMkLst>
            <pc:docMk/>
            <pc:sldMk cId="0" sldId="274"/>
            <ac:graphicFrameMk id="290" creationId="{F0C9CB61-8762-6D69-4BD1-AB22B80B83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19.344" v="49646"/>
          <ac:graphicFrameMkLst>
            <pc:docMk/>
            <pc:sldMk cId="0" sldId="274"/>
            <ac:graphicFrameMk id="292" creationId="{E0956BAE-34D3-CB2A-6DC1-A347C739D4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4.083" v="49825"/>
          <ac:graphicFrameMkLst>
            <pc:docMk/>
            <pc:sldMk cId="0" sldId="274"/>
            <ac:graphicFrameMk id="295" creationId="{C02B28DD-C95E-40C6-AC3C-80506E831C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4.487" v="50013"/>
          <ac:graphicFrameMkLst>
            <pc:docMk/>
            <pc:sldMk cId="0" sldId="274"/>
            <ac:graphicFrameMk id="297" creationId="{BF4B7475-C684-E086-461F-7B6D8023404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8.199" v="50141"/>
          <ac:graphicFrameMkLst>
            <pc:docMk/>
            <pc:sldMk cId="0" sldId="274"/>
            <ac:graphicFrameMk id="299" creationId="{92D82CCA-3CE9-3A20-B0FF-72BAB0445F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8.614" v="50278"/>
          <ac:graphicFrameMkLst>
            <pc:docMk/>
            <pc:sldMk cId="0" sldId="274"/>
            <ac:graphicFrameMk id="301" creationId="{AD84977E-FBB4-CB48-8E71-AC7EA354A1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34.511" v="50388"/>
          <ac:graphicFrameMkLst>
            <pc:docMk/>
            <pc:sldMk cId="0" sldId="274"/>
            <ac:graphicFrameMk id="304" creationId="{2DB5D4F7-57F3-506E-3CF9-CD914C14E0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54.853" v="50722"/>
          <ac:graphicFrameMkLst>
            <pc:docMk/>
            <pc:sldMk cId="0" sldId="274"/>
            <ac:graphicFrameMk id="306" creationId="{11D0BF73-AD5B-F21B-ACB2-B077B6C24F79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4:39.110" v="50615"/>
          <ac:graphicFrameMkLst>
            <pc:docMk/>
            <pc:sldMk cId="0" sldId="274"/>
            <ac:graphicFrameMk id="309" creationId="{151CCE33-C785-CCA2-2A98-29ADADB047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5:07.900" v="50820"/>
          <ac:graphicFrameMkLst>
            <pc:docMk/>
            <pc:sldMk cId="0" sldId="274"/>
            <ac:graphicFrameMk id="311" creationId="{B9FE3A8A-7FF7-C8E4-3FDC-86C12DBD12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5:25.486" v="50910"/>
          <ac:graphicFrameMkLst>
            <pc:docMk/>
            <pc:sldMk cId="0" sldId="274"/>
            <ac:graphicFrameMk id="313" creationId="{C3822E8B-2080-873E-E389-72EC72A356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18.525" v="51455"/>
          <ac:graphicFrameMkLst>
            <pc:docMk/>
            <pc:sldMk cId="0" sldId="274"/>
            <ac:graphicFrameMk id="315" creationId="{975E2FB3-3AFD-D1E7-AA2D-3E3D873B8554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5:33.557" v="51109"/>
          <ac:graphicFrameMkLst>
            <pc:docMk/>
            <pc:sldMk cId="0" sldId="274"/>
            <ac:graphicFrameMk id="317" creationId="{ECA270C0-7EF3-7FD1-EE89-E8CADCDBE3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25.246" v="51588"/>
          <ac:graphicFrameMkLst>
            <pc:docMk/>
            <pc:sldMk cId="0" sldId="274"/>
            <ac:graphicFrameMk id="321" creationId="{8D15C531-3E8C-BE19-F925-3BD812E514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9.769" v="53784"/>
          <ac:graphicFrameMkLst>
            <pc:docMk/>
            <pc:sldMk cId="0" sldId="274"/>
            <ac:graphicFrameMk id="323" creationId="{618274FA-ABCC-2E11-3DD9-54D659FC4C7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35.057" v="51687"/>
          <ac:graphicFrameMkLst>
            <pc:docMk/>
            <pc:sldMk cId="0" sldId="274"/>
            <ac:graphicFrameMk id="325" creationId="{1943C7A6-4E5D-BC80-20B5-DF318FFE349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41.601" v="51807"/>
          <ac:graphicFrameMkLst>
            <pc:docMk/>
            <pc:sldMk cId="0" sldId="274"/>
            <ac:graphicFrameMk id="327" creationId="{71CBE80B-A740-A8D8-53E5-6AF6BF4AADA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46.741" v="51945"/>
          <ac:graphicFrameMkLst>
            <pc:docMk/>
            <pc:sldMk cId="0" sldId="274"/>
            <ac:graphicFrameMk id="330" creationId="{41EF3531-56EB-9EA6-DEE0-86A10ED017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51.650" v="52089"/>
          <ac:graphicFrameMkLst>
            <pc:docMk/>
            <pc:sldMk cId="0" sldId="274"/>
            <ac:graphicFrameMk id="333" creationId="{67AA54D3-CC5C-FCE7-B952-01494F4DC2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53.968" v="52216"/>
          <ac:graphicFrameMkLst>
            <pc:docMk/>
            <pc:sldMk cId="0" sldId="274"/>
            <ac:graphicFrameMk id="336" creationId="{0DD95216-3EB6-BCED-D4F6-C4812129B3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3.220" v="52330"/>
          <ac:graphicFrameMkLst>
            <pc:docMk/>
            <pc:sldMk cId="0" sldId="274"/>
            <ac:graphicFrameMk id="338" creationId="{3538E5F8-DFB6-1A32-BFC6-7B3C0F9D50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6.815" v="52495"/>
          <ac:graphicFrameMkLst>
            <pc:docMk/>
            <pc:sldMk cId="0" sldId="274"/>
            <ac:graphicFrameMk id="340" creationId="{EBFA03AD-CA72-3EBB-72B6-0A95611707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8.745" v="52612"/>
          <ac:graphicFrameMkLst>
            <pc:docMk/>
            <pc:sldMk cId="0" sldId="274"/>
            <ac:graphicFrameMk id="342" creationId="{A9F34A4C-5164-8ADE-F554-1AE4E6061FA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0.439" v="52925"/>
          <ac:graphicFrameMkLst>
            <pc:docMk/>
            <pc:sldMk cId="0" sldId="274"/>
            <ac:graphicFrameMk id="344" creationId="{6C20F02B-FA75-F968-F31C-6EC89424626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3.552" v="53059"/>
          <ac:graphicFrameMkLst>
            <pc:docMk/>
            <pc:sldMk cId="0" sldId="274"/>
            <ac:graphicFrameMk id="350" creationId="{37E1EE10-B459-C6EE-F218-28B43B4CC2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5.532" v="53193"/>
          <ac:graphicFrameMkLst>
            <pc:docMk/>
            <pc:sldMk cId="0" sldId="274"/>
            <ac:graphicFrameMk id="352" creationId="{1B486FC3-DD73-02A9-9C67-9AC8529B1C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7.286" v="53323"/>
          <ac:graphicFrameMkLst>
            <pc:docMk/>
            <pc:sldMk cId="0" sldId="274"/>
            <ac:graphicFrameMk id="355" creationId="{CA51C2E3-967A-1A9B-A957-D2BDB37D7B4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9.273" v="53453"/>
          <ac:graphicFrameMkLst>
            <pc:docMk/>
            <pc:sldMk cId="0" sldId="274"/>
            <ac:graphicFrameMk id="357" creationId="{0C83D6D8-8375-9F2C-4495-9FD2E54F5A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3.100" v="53583"/>
          <ac:graphicFrameMkLst>
            <pc:docMk/>
            <pc:sldMk cId="0" sldId="274"/>
            <ac:graphicFrameMk id="359" creationId="{8657C6D0-495B-FC0D-C2C6-75ACD640385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8.270" v="53713"/>
          <ac:graphicFrameMkLst>
            <pc:docMk/>
            <pc:sldMk cId="0" sldId="274"/>
            <ac:graphicFrameMk id="361" creationId="{E2304751-0E81-1F79-11B2-48962D4BF8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2.373" v="53871"/>
          <ac:graphicFrameMkLst>
            <pc:docMk/>
            <pc:sldMk cId="0" sldId="274"/>
            <ac:graphicFrameMk id="363" creationId="{3B329F3B-84D5-F889-0A7A-2A46454449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4.958" v="53990"/>
          <ac:graphicFrameMkLst>
            <pc:docMk/>
            <pc:sldMk cId="0" sldId="274"/>
            <ac:graphicFrameMk id="365" creationId="{F9DDD720-F5B1-BF96-B7C7-00DDC7B2D17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7.378" v="54110"/>
          <ac:graphicFrameMkLst>
            <pc:docMk/>
            <pc:sldMk cId="0" sldId="274"/>
            <ac:graphicFrameMk id="367" creationId="{58B86F2D-D8AD-07CE-5F33-DC86A9466E6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43.328" v="54218"/>
          <ac:graphicFrameMkLst>
            <pc:docMk/>
            <pc:sldMk cId="0" sldId="274"/>
            <ac:graphicFrameMk id="369" creationId="{91554C64-D6FB-DFA4-0C29-7424AD6341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46.966" v="54343"/>
          <ac:graphicFrameMkLst>
            <pc:docMk/>
            <pc:sldMk cId="0" sldId="274"/>
            <ac:graphicFrameMk id="371" creationId="{88695167-5C96-BFB1-A945-88D432BBA4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55.542" v="54496"/>
          <ac:graphicFrameMkLst>
            <pc:docMk/>
            <pc:sldMk cId="0" sldId="274"/>
            <ac:graphicFrameMk id="374" creationId="{7D903C83-CE69-1E07-071B-1CC8E20148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06.117" v="54628"/>
          <ac:graphicFrameMkLst>
            <pc:docMk/>
            <pc:sldMk cId="0" sldId="274"/>
            <ac:graphicFrameMk id="377" creationId="{6BAB82A6-19DA-0DD8-81D5-B0ACF153B8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08.566" v="54752"/>
          <ac:graphicFrameMkLst>
            <pc:docMk/>
            <pc:sldMk cId="0" sldId="274"/>
            <ac:graphicFrameMk id="379" creationId="{CD35F19C-4BFC-38D5-1C5A-0BF091550BD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0.669" v="54876"/>
          <ac:graphicFrameMkLst>
            <pc:docMk/>
            <pc:sldMk cId="0" sldId="274"/>
            <ac:graphicFrameMk id="381" creationId="{2F85EB35-D6E2-16D1-A308-217220E87AB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3.233" v="55000"/>
          <ac:graphicFrameMkLst>
            <pc:docMk/>
            <pc:sldMk cId="0" sldId="274"/>
            <ac:graphicFrameMk id="383" creationId="{437F9F32-93DA-C5D6-2C9E-E65186A0E5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5.970" v="55124"/>
          <ac:graphicFrameMkLst>
            <pc:docMk/>
            <pc:sldMk cId="0" sldId="274"/>
            <ac:graphicFrameMk id="385" creationId="{9A9FB734-25EF-D29E-DF39-A61388C0396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0.204" v="55248"/>
          <ac:graphicFrameMkLst>
            <pc:docMk/>
            <pc:sldMk cId="0" sldId="274"/>
            <ac:graphicFrameMk id="387" creationId="{1EF1269D-C12B-9F35-091E-6312EF5C64E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2.650" v="55372"/>
          <ac:graphicFrameMkLst>
            <pc:docMk/>
            <pc:sldMk cId="0" sldId="274"/>
            <ac:graphicFrameMk id="389" creationId="{1080C1CB-F584-392B-971B-020B9894D17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4.979" v="55496"/>
          <ac:graphicFrameMkLst>
            <pc:docMk/>
            <pc:sldMk cId="0" sldId="274"/>
            <ac:graphicFrameMk id="391" creationId="{D1EAEFA2-4B86-4972-7068-E60F2BD1A4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9.541" v="55602"/>
          <ac:graphicFrameMkLst>
            <pc:docMk/>
            <pc:sldMk cId="0" sldId="274"/>
            <ac:graphicFrameMk id="393" creationId="{772E4216-1877-9AB0-C558-23B3522E8B3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0.830" v="55706"/>
          <ac:graphicFrameMkLst>
            <pc:docMk/>
            <pc:sldMk cId="0" sldId="274"/>
            <ac:graphicFrameMk id="395" creationId="{8DD697BA-5D97-F5C2-020C-1C7708D37F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3.576" v="55827"/>
          <ac:graphicFrameMkLst>
            <pc:docMk/>
            <pc:sldMk cId="0" sldId="274"/>
            <ac:graphicFrameMk id="397" creationId="{6ECC8EEA-9B99-4FCA-53E4-07867EA417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6.109" v="55937"/>
          <ac:graphicFrameMkLst>
            <pc:docMk/>
            <pc:sldMk cId="0" sldId="274"/>
            <ac:graphicFrameMk id="399" creationId="{62EFB220-3423-5C91-7490-BA76C4628E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44.484" v="56246"/>
          <ac:graphicFrameMkLst>
            <pc:docMk/>
            <pc:sldMk cId="0" sldId="274"/>
            <ac:graphicFrameMk id="401" creationId="{7BC0B1FA-E043-FD2F-13FF-76B36A531791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8:42.041" v="56150"/>
          <ac:graphicFrameMkLst>
            <pc:docMk/>
            <pc:sldMk cId="0" sldId="274"/>
            <ac:graphicFrameMk id="403" creationId="{C67F4179-2DF1-2C62-0469-B15DC4FACF9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46.658" v="56349"/>
          <ac:graphicFrameMkLst>
            <pc:docMk/>
            <pc:sldMk cId="0" sldId="274"/>
            <ac:graphicFrameMk id="405" creationId="{F884D743-AA6D-3E5D-15A6-E6E556DA48E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52.252" v="56441"/>
          <ac:graphicFrameMkLst>
            <pc:docMk/>
            <pc:sldMk cId="0" sldId="274"/>
            <ac:graphicFrameMk id="407" creationId="{D24D6746-D673-3776-0278-859968A947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58.993" v="56533"/>
          <ac:graphicFrameMkLst>
            <pc:docMk/>
            <pc:sldMk cId="0" sldId="274"/>
            <ac:graphicFrameMk id="409" creationId="{FEBF0F41-6519-0C32-CBC0-7038B305D8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04.651" v="56625"/>
          <ac:graphicFrameMkLst>
            <pc:docMk/>
            <pc:sldMk cId="0" sldId="274"/>
            <ac:graphicFrameMk id="411" creationId="{D497C249-3278-C258-EE98-631C7BAD74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13.512" v="56717"/>
          <ac:graphicFrameMkLst>
            <pc:docMk/>
            <pc:sldMk cId="0" sldId="274"/>
            <ac:graphicFrameMk id="413" creationId="{1E714EEE-6A01-D524-145F-93CEB0BCB9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19.691" v="56809"/>
          <ac:graphicFrameMkLst>
            <pc:docMk/>
            <pc:sldMk cId="0" sldId="274"/>
            <ac:graphicFrameMk id="415" creationId="{A04457D5-52CD-578B-51AE-6A4DE9B475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29.518" v="56901"/>
          <ac:graphicFrameMkLst>
            <pc:docMk/>
            <pc:sldMk cId="0" sldId="274"/>
            <ac:graphicFrameMk id="417" creationId="{E0390E96-6038-2E60-A6FF-9A016800AA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44.586" v="56993"/>
          <ac:graphicFrameMkLst>
            <pc:docMk/>
            <pc:sldMk cId="0" sldId="274"/>
            <ac:graphicFrameMk id="419" creationId="{7B653242-ED54-A822-8949-CB9F10AF5F5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02.351" v="57750"/>
          <ac:graphicFrameMkLst>
            <pc:docMk/>
            <pc:sldMk cId="0" sldId="274"/>
            <ac:graphicFrameMk id="421" creationId="{FDC91ECA-732A-3F03-B588-3B27C36500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04.390" v="57875"/>
          <ac:graphicFrameMkLst>
            <pc:docMk/>
            <pc:sldMk cId="0" sldId="274"/>
            <ac:graphicFrameMk id="436" creationId="{0E9CDC93-F12F-E123-75F6-002B86E5422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20.760" v="58247"/>
          <ac:graphicFrameMkLst>
            <pc:docMk/>
            <pc:sldMk cId="0" sldId="274"/>
            <ac:graphicFrameMk id="438" creationId="{12ABC625-C6D2-3EDB-BB9C-ED686D5D4F59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10:12.002" v="58124"/>
          <ac:graphicFrameMkLst>
            <pc:docMk/>
            <pc:sldMk cId="0" sldId="274"/>
            <ac:graphicFrameMk id="440" creationId="{AD68DDA1-1917-4688-7CE2-7539A8EA56D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0.004" v="58373"/>
          <ac:graphicFrameMkLst>
            <pc:docMk/>
            <pc:sldMk cId="0" sldId="274"/>
            <ac:graphicFrameMk id="442" creationId="{15F75981-5B6C-8630-453D-0496B9DC78A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1.700" v="58485"/>
          <ac:graphicFrameMkLst>
            <pc:docMk/>
            <pc:sldMk cId="0" sldId="274"/>
            <ac:graphicFrameMk id="444" creationId="{B6C64F67-C734-2E9F-50B9-421EED9633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8.438" v="58577"/>
          <ac:graphicFrameMkLst>
            <pc:docMk/>
            <pc:sldMk cId="0" sldId="274"/>
            <ac:graphicFrameMk id="446" creationId="{90A6ADFC-D347-2F49-A651-64D84C3324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9.658" v="58669"/>
          <ac:graphicFrameMkLst>
            <pc:docMk/>
            <pc:sldMk cId="0" sldId="274"/>
            <ac:graphicFrameMk id="448" creationId="{B16F336E-8B8C-DF4F-2BDD-67FD5AB3E40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1.138" v="58761"/>
          <ac:graphicFrameMkLst>
            <pc:docMk/>
            <pc:sldMk cId="0" sldId="274"/>
            <ac:graphicFrameMk id="450" creationId="{9CF18AD9-DA9D-8D0E-77A1-F5BBE5B715F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2.265" v="58853"/>
          <ac:graphicFrameMkLst>
            <pc:docMk/>
            <pc:sldMk cId="0" sldId="274"/>
            <ac:graphicFrameMk id="452" creationId="{15F801BF-E07E-D3D4-5792-C2F4F5AE7C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3.788" v="58945"/>
          <ac:graphicFrameMkLst>
            <pc:docMk/>
            <pc:sldMk cId="0" sldId="274"/>
            <ac:graphicFrameMk id="454" creationId="{CF76DC3B-9151-8C86-356F-A630A1FC24B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6.217" v="59037"/>
          <ac:graphicFrameMkLst>
            <pc:docMk/>
            <pc:sldMk cId="0" sldId="274"/>
            <ac:graphicFrameMk id="456" creationId="{9A6A8E72-B488-007B-A4C1-00145C568F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0.961" v="59129"/>
          <ac:graphicFrameMkLst>
            <pc:docMk/>
            <pc:sldMk cId="0" sldId="274"/>
            <ac:graphicFrameMk id="458" creationId="{A813F6DD-F87B-FA73-5A53-FC2090BBC4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3.915" v="59221"/>
          <ac:graphicFrameMkLst>
            <pc:docMk/>
            <pc:sldMk cId="0" sldId="274"/>
            <ac:graphicFrameMk id="460" creationId="{19496821-26AA-A6A7-D5AA-BE844F16A0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5.795" v="59313"/>
          <ac:graphicFrameMkLst>
            <pc:docMk/>
            <pc:sldMk cId="0" sldId="274"/>
            <ac:graphicFrameMk id="462" creationId="{AC55948E-5F19-7CDF-C876-032EE3C75B7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6.873" v="59405"/>
          <ac:graphicFrameMkLst>
            <pc:docMk/>
            <pc:sldMk cId="0" sldId="274"/>
            <ac:graphicFrameMk id="464" creationId="{51C211FD-68C3-D503-57E1-D84E95E1074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1.417" v="59497"/>
          <ac:graphicFrameMkLst>
            <pc:docMk/>
            <pc:sldMk cId="0" sldId="274"/>
            <ac:graphicFrameMk id="466" creationId="{879A3229-0AB6-28ED-68A2-74A929E336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3.203" v="59589"/>
          <ac:graphicFrameMkLst>
            <pc:docMk/>
            <pc:sldMk cId="0" sldId="274"/>
            <ac:graphicFrameMk id="468" creationId="{8C58E613-B683-11E2-FA05-DE98473A836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4.654" v="59681"/>
          <ac:graphicFrameMkLst>
            <pc:docMk/>
            <pc:sldMk cId="0" sldId="274"/>
            <ac:graphicFrameMk id="470" creationId="{35570278-A1F9-1629-910D-D96FA572C8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6.203" v="59773"/>
          <ac:graphicFrameMkLst>
            <pc:docMk/>
            <pc:sldMk cId="0" sldId="274"/>
            <ac:graphicFrameMk id="472" creationId="{ADF598BC-73B2-1212-53C5-D92F275E22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7.355" v="59865"/>
          <ac:graphicFrameMkLst>
            <pc:docMk/>
            <pc:sldMk cId="0" sldId="274"/>
            <ac:graphicFrameMk id="474" creationId="{AD290BF7-10CA-79C9-E8B0-DB536193D0D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9.844" v="59957"/>
          <ac:graphicFrameMkLst>
            <pc:docMk/>
            <pc:sldMk cId="0" sldId="274"/>
            <ac:graphicFrameMk id="476" creationId="{1DEC878E-FD7D-4F53-EE5C-713D5ABDAC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1.064" v="60049"/>
          <ac:graphicFrameMkLst>
            <pc:docMk/>
            <pc:sldMk cId="0" sldId="274"/>
            <ac:graphicFrameMk id="478" creationId="{08E46920-37C4-981F-6B8F-1D2B441E518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2.164" v="60141"/>
          <ac:graphicFrameMkLst>
            <pc:docMk/>
            <pc:sldMk cId="0" sldId="274"/>
            <ac:graphicFrameMk id="480" creationId="{9219A981-9F83-3CAC-311C-3ADE1692C7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2.955" v="60233"/>
          <ac:graphicFrameMkLst>
            <pc:docMk/>
            <pc:sldMk cId="0" sldId="274"/>
            <ac:graphicFrameMk id="482" creationId="{89F4FCC6-AD05-7657-88D1-FA2A3E114B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5.097" v="60325"/>
          <ac:graphicFrameMkLst>
            <pc:docMk/>
            <pc:sldMk cId="0" sldId="274"/>
            <ac:graphicFrameMk id="484" creationId="{594EE452-43B4-B936-5A29-9B54B0B8370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48.522" v="60417"/>
          <ac:graphicFrameMkLst>
            <pc:docMk/>
            <pc:sldMk cId="0" sldId="274"/>
            <ac:graphicFrameMk id="486" creationId="{98B0CAD3-7B18-D23B-E5D7-BEC4039493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55.145" v="60509"/>
          <ac:graphicFrameMkLst>
            <pc:docMk/>
            <pc:sldMk cId="0" sldId="274"/>
            <ac:graphicFrameMk id="488" creationId="{3CC41317-9DAC-4CD2-1282-C3B6903195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59.270" v="61232"/>
          <ac:graphicFrameMkLst>
            <pc:docMk/>
            <pc:sldMk cId="0" sldId="274"/>
            <ac:graphicFrameMk id="490" creationId="{0D2AD80C-8CA1-D352-9E0C-ADD063738B0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00.083" v="61357"/>
          <ac:graphicFrameMkLst>
            <pc:docMk/>
            <pc:sldMk cId="0" sldId="274"/>
            <ac:graphicFrameMk id="503" creationId="{DF3A3BC8-1AB1-79F3-E39E-94D4736E2AD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05.912" v="61473"/>
          <ac:graphicFrameMkLst>
            <pc:docMk/>
            <pc:sldMk cId="0" sldId="274"/>
            <ac:graphicFrameMk id="505" creationId="{F9CC6D42-9D23-DAA7-D355-E42BE9EDCF0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14.945" v="61625"/>
          <ac:graphicFrameMkLst>
            <pc:docMk/>
            <pc:sldMk cId="0" sldId="274"/>
            <ac:graphicFrameMk id="507" creationId="{17743158-1BC5-F652-857B-A3D27B7B3D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23.221" v="61737"/>
          <ac:graphicFrameMkLst>
            <pc:docMk/>
            <pc:sldMk cId="0" sldId="274"/>
            <ac:graphicFrameMk id="510" creationId="{FBAE5FB2-086F-E287-DB34-7ABDEEE9DF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0.260" v="61861"/>
          <ac:graphicFrameMkLst>
            <pc:docMk/>
            <pc:sldMk cId="0" sldId="274"/>
            <ac:graphicFrameMk id="512" creationId="{25D0F3AA-71FA-9C5E-8783-61E86C5FBC9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2.520" v="61966"/>
          <ac:graphicFrameMkLst>
            <pc:docMk/>
            <pc:sldMk cId="0" sldId="274"/>
            <ac:graphicFrameMk id="514" creationId="{348986D5-D326-A95B-401E-C401EBCCB94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6.104" v="62073"/>
          <ac:graphicFrameMkLst>
            <pc:docMk/>
            <pc:sldMk cId="0" sldId="274"/>
            <ac:graphicFrameMk id="516" creationId="{7C97ADE9-A509-D999-6FC5-E73F9BD1818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11.775" v="62169"/>
          <ac:graphicFrameMkLst>
            <pc:docMk/>
            <pc:sldMk cId="0" sldId="274"/>
            <ac:graphicFrameMk id="518" creationId="{C5689F1E-0172-A750-547A-F6CF917B6E3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17.696" v="62265"/>
          <ac:graphicFrameMkLst>
            <pc:docMk/>
            <pc:sldMk cId="0" sldId="274"/>
            <ac:graphicFrameMk id="520" creationId="{513C1DE9-AB87-AAAB-E60B-00B2D5D47F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23.622" v="62361"/>
          <ac:graphicFrameMkLst>
            <pc:docMk/>
            <pc:sldMk cId="0" sldId="274"/>
            <ac:graphicFrameMk id="522" creationId="{64A5B761-6422-E512-17A2-CA88ED955D7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39.003" v="62474"/>
          <ac:graphicFrameMkLst>
            <pc:docMk/>
            <pc:sldMk cId="0" sldId="274"/>
            <ac:graphicFrameMk id="524" creationId="{1D3D8277-19E6-A57E-A5AD-3088906EF5E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1.523" v="62581"/>
          <ac:graphicFrameMkLst>
            <pc:docMk/>
            <pc:sldMk cId="0" sldId="274"/>
            <ac:graphicFrameMk id="526" creationId="{33F7D7B0-D66E-6CC0-CED2-5AFBE8CC993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4.432" v="62688"/>
          <ac:graphicFrameMkLst>
            <pc:docMk/>
            <pc:sldMk cId="0" sldId="274"/>
            <ac:graphicFrameMk id="528" creationId="{16B997C7-899F-3402-2F36-3C5FD112C16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7.925" v="62842"/>
          <ac:graphicFrameMkLst>
            <pc:docMk/>
            <pc:sldMk cId="0" sldId="274"/>
            <ac:graphicFrameMk id="530" creationId="{B1320EB5-151B-4D71-A985-F7A31E105A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54.760" v="62964"/>
          <ac:graphicFrameMkLst>
            <pc:docMk/>
            <pc:sldMk cId="0" sldId="274"/>
            <ac:graphicFrameMk id="533" creationId="{7E51D219-467D-5212-5C20-C049F4A6212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59.635" v="63076"/>
          <ac:graphicFrameMkLst>
            <pc:docMk/>
            <pc:sldMk cId="0" sldId="274"/>
            <ac:graphicFrameMk id="535" creationId="{482F4451-845B-42FD-514A-186AD5ABD7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1.779" v="63177"/>
          <ac:graphicFrameMkLst>
            <pc:docMk/>
            <pc:sldMk cId="0" sldId="274"/>
            <ac:graphicFrameMk id="537" creationId="{8A2B205B-52FD-6366-71B2-46EDDEF7B8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4.480" v="63291"/>
          <ac:graphicFrameMkLst>
            <pc:docMk/>
            <pc:sldMk cId="0" sldId="274"/>
            <ac:graphicFrameMk id="539" creationId="{EC15EB77-9EEB-4F92-54D8-9250BB4A4A5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6.219" v="63394"/>
          <ac:graphicFrameMkLst>
            <pc:docMk/>
            <pc:sldMk cId="0" sldId="274"/>
            <ac:graphicFrameMk id="541" creationId="{8DCD8A30-B19C-6BE2-8674-49B79D8891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1.831" v="63512"/>
          <ac:graphicFrameMkLst>
            <pc:docMk/>
            <pc:sldMk cId="0" sldId="274"/>
            <ac:graphicFrameMk id="543" creationId="{9598F91F-A0DD-47E5-A14F-E7C3A0F492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4.516" v="63617"/>
          <ac:graphicFrameMkLst>
            <pc:docMk/>
            <pc:sldMk cId="0" sldId="274"/>
            <ac:graphicFrameMk id="545" creationId="{3CFE3412-7BAF-0AB0-08EA-91C87787D24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7.073" v="63721"/>
          <ac:graphicFrameMkLst>
            <pc:docMk/>
            <pc:sldMk cId="0" sldId="274"/>
            <ac:graphicFrameMk id="547" creationId="{56F57AA3-A3DD-E9BF-4AA5-1453F5EB8E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9.583" v="63832"/>
          <ac:graphicFrameMkLst>
            <pc:docMk/>
            <pc:sldMk cId="0" sldId="274"/>
            <ac:graphicFrameMk id="549" creationId="{3E942D56-4701-138A-4738-FC739E146D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22.557" v="63942"/>
          <ac:graphicFrameMkLst>
            <pc:docMk/>
            <pc:sldMk cId="0" sldId="274"/>
            <ac:graphicFrameMk id="551" creationId="{3E58E2FE-97AB-7B90-D1CA-D62B00C77E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27.538" v="64126"/>
          <ac:graphicFrameMkLst>
            <pc:docMk/>
            <pc:sldMk cId="0" sldId="274"/>
            <ac:graphicFrameMk id="553" creationId="{D6B5D2DE-CA45-D4E3-EF1F-121A8A1B67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30.026" v="64241"/>
          <ac:graphicFrameMkLst>
            <pc:docMk/>
            <pc:sldMk cId="0" sldId="274"/>
            <ac:graphicFrameMk id="555" creationId="{60DE53AB-3F84-0537-A1A1-53AFEC2776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7:50.541" v="64455"/>
          <ac:graphicFrameMkLst>
            <pc:docMk/>
            <pc:sldMk cId="0" sldId="274"/>
            <ac:graphicFrameMk id="557" creationId="{2EC46D7A-8B56-5619-D1AA-EBA0C78E622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8:33.179" v="66485"/>
          <ac:graphicFrameMkLst>
            <pc:docMk/>
            <pc:sldMk cId="0" sldId="274"/>
            <ac:graphicFrameMk id="567" creationId="{6102DCF6-50C0-0048-062D-684AF381CF82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2.063" v="66326"/>
          <ac:graphicFrameMkLst>
            <pc:docMk/>
            <pc:sldMk cId="0" sldId="274"/>
            <ac:graphicFrameMk id="571" creationId="{09216A3B-CB1F-E164-4A3E-74A47760EA0E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1.811" v="66257"/>
          <ac:graphicFrameMkLst>
            <pc:docMk/>
            <pc:sldMk cId="0" sldId="274"/>
            <ac:graphicFrameMk id="584" creationId="{F386CF94-9501-67F7-1C3F-B4126186529C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1.811" v="66257"/>
          <ac:graphicFrameMkLst>
            <pc:docMk/>
            <pc:sldMk cId="0" sldId="274"/>
            <ac:graphicFrameMk id="586" creationId="{6A62C819-8FD1-1655-32EE-CA3994B98145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18:11.234" v="65709"/>
          <ac:graphicFrameMkLst>
            <pc:docMk/>
            <pc:sldMk cId="0" sldId="274"/>
            <ac:graphicFrameMk id="588" creationId="{4A1C4322-0ED2-8326-BCF3-F0319E1C66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8:35.865" v="66602"/>
          <ac:graphicFrameMkLst>
            <pc:docMk/>
            <pc:sldMk cId="0" sldId="274"/>
            <ac:graphicFrameMk id="591" creationId="{E5BBCD3C-76AD-227D-4FEB-31CE658DA3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28.236" v="93474"/>
          <ac:graphicFrameMkLst>
            <pc:docMk/>
            <pc:sldMk cId="0" sldId="274"/>
            <ac:graphicFrameMk id="593" creationId="{BC954F22-ACBB-E7AB-AEE9-3C0DC584B2F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29.312" v="93607"/>
          <ac:graphicFrameMkLst>
            <pc:docMk/>
            <pc:sldMk cId="0" sldId="274"/>
            <ac:graphicFrameMk id="623" creationId="{8325F996-F2AB-F450-F3CC-2E3D6CDBE865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42:29.345" v="93614"/>
          <ac:graphicFrameMkLst>
            <pc:docMk/>
            <pc:sldMk cId="0" sldId="274"/>
            <ac:graphicFrameMk id="625" creationId="{0AB684AE-EAD4-D563-08B9-A0C3E1AB5B23}"/>
          </ac:graphicFrameMkLst>
        </pc:graphicFrameChg>
        <pc:picChg chg="add del mod ord">
          <ac:chgData name="vonWaldow, Ulrich" userId="c64b3fe1-2fbf-4408-adc4-30add62e991f" providerId="ADAL" clId="{B99A90B8-7D29-4456-AFD4-0F3DBA13A596}" dt="2024-08-27T12:17:35.139" v="64410" actId="478"/>
          <ac:picMkLst>
            <pc:docMk/>
            <pc:sldMk cId="0" sldId="274"/>
            <ac:picMk id="24" creationId="{C872C4B3-248C-DC25-CDFB-8BEFD01AF8AB}"/>
          </ac:picMkLst>
        </pc:picChg>
        <pc:picChg chg="add mod ord">
          <ac:chgData name="vonWaldow, Ulrich" userId="c64b3fe1-2fbf-4408-adc4-30add62e991f" providerId="ADAL" clId="{B99A90B8-7D29-4456-AFD4-0F3DBA13A596}" dt="2024-08-27T12:42:29.375" v="93656"/>
          <ac:picMkLst>
            <pc:docMk/>
            <pc:sldMk cId="0" sldId="274"/>
            <ac:picMk id="568" creationId="{FCF64055-5F49-2F15-5726-5BD4966F3018}"/>
          </ac:picMkLst>
        </pc:picChg>
        <pc:cxnChg chg="add del mod ord replST">
          <ac:chgData name="vonWaldow, Ulrich" userId="c64b3fe1-2fbf-4408-adc4-30add62e991f" providerId="ADAL" clId="{B99A90B8-7D29-4456-AFD4-0F3DBA13A596}" dt="2024-08-27T11:55:40.712" v="36470"/>
          <ac:cxnSpMkLst>
            <pc:docMk/>
            <pc:sldMk cId="0" sldId="274"/>
            <ac:cxnSpMk id="38" creationId="{5DBDA4C6-BD78-47D0-5098-018B7F2BC806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0.712" v="36468"/>
          <ac:cxnSpMkLst>
            <pc:docMk/>
            <pc:sldMk cId="0" sldId="274"/>
            <ac:cxnSpMk id="39" creationId="{588225F8-A20C-5A54-204E-765847419348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0.712" v="36466"/>
          <ac:cxnSpMkLst>
            <pc:docMk/>
            <pc:sldMk cId="0" sldId="274"/>
            <ac:cxnSpMk id="40" creationId="{D786BB2A-B690-0742-3BC7-3CFC4FD82C36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52" v="37304"/>
          <ac:cxnSpMkLst>
            <pc:docMk/>
            <pc:sldMk cId="0" sldId="274"/>
            <ac:cxnSpMk id="47" creationId="{69C99B7C-9C44-26ED-42ED-E934106580BC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83" v="37326"/>
          <ac:cxnSpMkLst>
            <pc:docMk/>
            <pc:sldMk cId="0" sldId="274"/>
            <ac:cxnSpMk id="54" creationId="{457BE5EC-3DB5-CCE9-F956-C1D3C4DB9624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4"/>
          <ac:cxnSpMkLst>
            <pc:docMk/>
            <pc:sldMk cId="0" sldId="274"/>
            <ac:cxnSpMk id="55" creationId="{24B04FF6-2D4F-EA1C-783F-333EDAA4B7DE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2"/>
          <ac:cxnSpMkLst>
            <pc:docMk/>
            <pc:sldMk cId="0" sldId="274"/>
            <ac:cxnSpMk id="56" creationId="{24448F51-A933-0CD6-96AF-28F35C8E27EF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0"/>
          <ac:cxnSpMkLst>
            <pc:docMk/>
            <pc:sldMk cId="0" sldId="274"/>
            <ac:cxnSpMk id="57" creationId="{E799A0AE-0E39-F21E-73E4-9A2C0B70E14B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18"/>
          <ac:cxnSpMkLst>
            <pc:docMk/>
            <pc:sldMk cId="0" sldId="274"/>
            <ac:cxnSpMk id="58" creationId="{A151CF64-15D2-11B0-249C-AE23897A9D7D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20"/>
          <ac:cxnSpMkLst>
            <pc:docMk/>
            <pc:sldMk cId="0" sldId="274"/>
            <ac:cxnSpMk id="63" creationId="{8DD28EAC-BEB7-D032-57FD-8F5F120F7012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8"/>
          <ac:cxnSpMkLst>
            <pc:docMk/>
            <pc:sldMk cId="0" sldId="274"/>
            <ac:cxnSpMk id="64" creationId="{336E59FA-7BB1-E81D-DC6E-C4FB4350BB2C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6"/>
          <ac:cxnSpMkLst>
            <pc:docMk/>
            <pc:sldMk cId="0" sldId="274"/>
            <ac:cxnSpMk id="65" creationId="{629AAD1B-B1A4-8375-1848-94A673D86D78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4"/>
          <ac:cxnSpMkLst>
            <pc:docMk/>
            <pc:sldMk cId="0" sldId="274"/>
            <ac:cxnSpMk id="66" creationId="{0E6E79B5-64AF-399B-C832-EB3E04068EC1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17.381" v="38414"/>
          <ac:cxnSpMkLst>
            <pc:docMk/>
            <pc:sldMk cId="0" sldId="274"/>
            <ac:cxnSpMk id="73" creationId="{E6BF8F25-4293-A8E6-BFEB-F7411F0B9172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17.397" v="38421"/>
          <ac:cxnSpMkLst>
            <pc:docMk/>
            <pc:sldMk cId="0" sldId="274"/>
            <ac:cxnSpMk id="74" creationId="{42D1A6F4-02BF-2066-8B1B-726C53E93949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21.354" v="38639"/>
          <ac:cxnSpMkLst>
            <pc:docMk/>
            <pc:sldMk cId="0" sldId="274"/>
            <ac:cxnSpMk id="83" creationId="{C135683E-3B92-A5EF-A009-EC9A7CF2001B}"/>
          </ac:cxnSpMkLst>
        </pc:cxnChg>
        <pc:cxnChg chg="add del mod ord replST">
          <ac:chgData name="vonWaldow, Ulrich" userId="c64b3fe1-2fbf-4408-adc4-30add62e991f" providerId="ADAL" clId="{B99A90B8-7D29-4456-AFD4-0F3DBA13A596}" dt="2024-08-27T11:57:41.205" v="42909"/>
          <ac:cxnSpMkLst>
            <pc:docMk/>
            <pc:sldMk cId="0" sldId="274"/>
            <ac:cxnSpMk id="88" creationId="{5CBE8872-9F61-1644-4F6D-369492578C9A}"/>
          </ac:cxnSpMkLst>
        </pc:cxnChg>
        <pc:cxnChg chg="add del mod ord replST">
          <ac:chgData name="vonWaldow, Ulrich" userId="c64b3fe1-2fbf-4408-adc4-30add62e991f" providerId="ADAL" clId="{B99A90B8-7D29-4456-AFD4-0F3DBA13A596}" dt="2024-08-27T11:57:49.524" v="43124"/>
          <ac:cxnSpMkLst>
            <pc:docMk/>
            <pc:sldMk cId="0" sldId="274"/>
            <ac:cxnSpMk id="173" creationId="{D696D257-364B-FA10-4869-A0F7A476AB9C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40" v="49967"/>
          <ac:cxnSpMkLst>
            <pc:docMk/>
            <pc:sldMk cId="0" sldId="274"/>
            <ac:cxnSpMk id="182" creationId="{457B69A1-857F-F7BE-A84B-1089DB16FFF1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8.599" v="50270"/>
          <ac:cxnSpMkLst>
            <pc:docMk/>
            <pc:sldMk cId="0" sldId="274"/>
            <ac:cxnSpMk id="191" creationId="{B6394FD2-E34A-F407-2463-C67290841D5B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5.918" v="49203"/>
          <ac:cxnSpMkLst>
            <pc:docMk/>
            <pc:sldMk cId="0" sldId="274"/>
            <ac:cxnSpMk id="200" creationId="{C450C9AA-FDB8-B3E2-8AD7-8AB467E8D402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61"/>
          <ac:cxnSpMkLst>
            <pc:docMk/>
            <pc:sldMk cId="0" sldId="274"/>
            <ac:cxnSpMk id="224" creationId="{7B59CEEF-F422-03BB-BE22-60828A241640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59"/>
          <ac:cxnSpMkLst>
            <pc:docMk/>
            <pc:sldMk cId="0" sldId="274"/>
            <ac:cxnSpMk id="225" creationId="{9C2BAE4F-7CE0-DCF9-3057-8AFF0963287E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57"/>
          <ac:cxnSpMkLst>
            <pc:docMk/>
            <pc:sldMk cId="0" sldId="274"/>
            <ac:cxnSpMk id="226" creationId="{904E1173-3B93-4FE7-D189-E3EDA0B32DC0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3.352" v="46034"/>
          <ac:cxnSpMkLst>
            <pc:docMk/>
            <pc:sldMk cId="0" sldId="274"/>
            <ac:cxnSpMk id="229" creationId="{F43A8101-EB28-2397-2385-9681FD96E860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71" v="50003"/>
          <ac:cxnSpMkLst>
            <pc:docMk/>
            <pc:sldMk cId="0" sldId="274"/>
            <ac:cxnSpMk id="230" creationId="{41F53465-5CCF-BCF7-C9B1-FDC151DD9B35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7"/>
          <ac:cxnSpMkLst>
            <pc:docMk/>
            <pc:sldMk cId="0" sldId="274"/>
            <ac:cxnSpMk id="279" creationId="{6682815B-2A98-8ABB-A625-9CBF57118A8A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5"/>
          <ac:cxnSpMkLst>
            <pc:docMk/>
            <pc:sldMk cId="0" sldId="274"/>
            <ac:cxnSpMk id="280" creationId="{A116307E-5B10-159D-CAC9-9E093985A4C2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3"/>
          <ac:cxnSpMkLst>
            <pc:docMk/>
            <pc:sldMk cId="0" sldId="274"/>
            <ac:cxnSpMk id="281" creationId="{2BF9405C-2096-8045-F07C-9A59F1B5B1E8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55" v="49996"/>
          <ac:cxnSpMkLst>
            <pc:docMk/>
            <pc:sldMk cId="0" sldId="274"/>
            <ac:cxnSpMk id="284" creationId="{45AB6CB5-780C-8D4B-F48B-9235D62F3F4D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09" v="49945"/>
          <ac:cxnSpMkLst>
            <pc:docMk/>
            <pc:sldMk cId="0" sldId="274"/>
            <ac:cxnSpMk id="289" creationId="{3C67E189-EDC4-0EDD-0F81-24DF6590D022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083" v="49823"/>
          <ac:cxnSpMkLst>
            <pc:docMk/>
            <pc:sldMk cId="0" sldId="274"/>
            <ac:cxnSpMk id="294" creationId="{70F8E089-4081-FE9B-7C64-602B806207A8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34.448" v="50341"/>
          <ac:cxnSpMkLst>
            <pc:docMk/>
            <pc:sldMk cId="0" sldId="274"/>
            <ac:cxnSpMk id="303" creationId="{DED16D0E-C4CF-D68E-042E-B77DEF48E6C9}"/>
          </ac:cxnSpMkLst>
        </pc:cxnChg>
        <pc:cxnChg chg="add mod ord replST delST">
          <ac:chgData name="vonWaldow, Ulrich" userId="c64b3fe1-2fbf-4408-adc4-30add62e991f" providerId="ADAL" clId="{B99A90B8-7D29-4456-AFD4-0F3DBA13A596}" dt="2024-08-27T12:04:39.110" v="50615"/>
          <ac:cxnSpMkLst>
            <pc:docMk/>
            <pc:sldMk cId="0" sldId="274"/>
            <ac:cxnSpMk id="308" creationId="{3845C74A-7573-031C-0C04-41C93D679E0F}"/>
          </ac:cxnSpMkLst>
        </pc:cxnChg>
      </pc:sldChg>
      <pc:sldChg chg="addSp delSp modSp mod chgLayout">
        <pc:chgData name="vonWaldow, Ulrich" userId="c64b3fe1-2fbf-4408-adc4-30add62e991f" providerId="ADAL" clId="{B99A90B8-7D29-4456-AFD4-0F3DBA13A596}" dt="2024-08-27T12:43:47.951" v="94293" actId="478"/>
        <pc:sldMkLst>
          <pc:docMk/>
          <pc:sldMk cId="0" sldId="275"/>
        </pc:sldMkLst>
        <pc:spChg chg="mod ord">
          <ac:chgData name="vonWaldow, Ulrich" userId="c64b3fe1-2fbf-4408-adc4-30add62e991f" providerId="ADAL" clId="{B99A90B8-7D29-4456-AFD4-0F3DBA13A596}" dt="2024-08-27T12:43:32.362" v="94260" actId="948"/>
          <ac:spMkLst>
            <pc:docMk/>
            <pc:sldMk cId="0" sldId="275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00.379" v="93719" actId="478"/>
          <ac:spMkLst>
            <pc:docMk/>
            <pc:sldMk cId="0" sldId="275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6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2:27:18.012" v="67329"/>
          <ac:spMkLst>
            <pc:docMk/>
            <pc:sldMk cId="0" sldId="275"/>
            <ac:spMk id="18" creationId="{77462217-2048-696C-42B8-577E8F8F51C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79"/>
          <ac:spMkLst>
            <pc:docMk/>
            <pc:sldMk cId="0" sldId="275"/>
            <ac:spMk id="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78"/>
          <ac:spMkLst>
            <pc:docMk/>
            <pc:sldMk cId="0" sldId="275"/>
            <ac:spMk id="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87" v="67577"/>
          <ac:spMkLst>
            <pc:docMk/>
            <pc:sldMk cId="0" sldId="275"/>
            <ac:spMk id="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80"/>
          <ac:spMkLst>
            <pc:docMk/>
            <pc:sldMk cId="0" sldId="275"/>
            <ac:spMk id="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2.321" v="67345"/>
          <ac:spMkLst>
            <pc:docMk/>
            <pc:sldMk cId="0" sldId="275"/>
            <ac:spMk id="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389" v="67466"/>
          <ac:spMkLst>
            <pc:docMk/>
            <pc:sldMk cId="0" sldId="275"/>
            <ac:spMk id="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0"/>
          <ac:spMkLst>
            <pc:docMk/>
            <pc:sldMk cId="0" sldId="275"/>
            <ac:spMk id="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1"/>
          <ac:spMkLst>
            <pc:docMk/>
            <pc:sldMk cId="0" sldId="275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2"/>
          <ac:spMkLst>
            <pc:docMk/>
            <pc:sldMk cId="0" sldId="275"/>
            <ac:spMk id="2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27:22.478" v="67463"/>
          <ac:spMkLst>
            <pc:docMk/>
            <pc:sldMk cId="0" sldId="275"/>
            <ac:spMk id="30" creationId="{6CC6904E-5C5B-6D1F-C212-3BD290DB7A86}"/>
          </ac:spMkLst>
        </pc:spChg>
        <pc:spChg chg="add del mod modVis">
          <ac:chgData name="vonWaldow, Ulrich" userId="c64b3fe1-2fbf-4408-adc4-30add62e991f" providerId="ADAL" clId="{B99A90B8-7D29-4456-AFD4-0F3DBA13A596}" dt="2024-08-27T12:27:23.578" v="67574"/>
          <ac:spMkLst>
            <pc:docMk/>
            <pc:sldMk cId="0" sldId="275"/>
            <ac:spMk id="32" creationId="{FE0585B4-F2B6-2AEC-ACB9-55DE08F3949A}"/>
          </ac:spMkLst>
        </pc:spChg>
        <pc:spChg chg="add del mod modVis">
          <ac:chgData name="vonWaldow, Ulrich" userId="c64b3fe1-2fbf-4408-adc4-30add62e991f" providerId="ADAL" clId="{B99A90B8-7D29-4456-AFD4-0F3DBA13A596}" dt="2024-08-27T12:27:38.916" v="68320"/>
          <ac:spMkLst>
            <pc:docMk/>
            <pc:sldMk cId="0" sldId="275"/>
            <ac:spMk id="34" creationId="{B9A5F518-4DEF-60E4-8B1C-FBED15D15BF5}"/>
          </ac:spMkLst>
        </pc:spChg>
        <pc:spChg chg="add del mod replST">
          <ac:chgData name="vonWaldow, Ulrich" userId="c64b3fe1-2fbf-4408-adc4-30add62e991f" providerId="ADAL" clId="{B99A90B8-7D29-4456-AFD4-0F3DBA13A596}" dt="2024-08-27T12:41:58.793" v="92371"/>
          <ac:spMkLst>
            <pc:docMk/>
            <pc:sldMk cId="0" sldId="275"/>
            <ac:spMk id="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58.793" v="92374"/>
          <ac:spMkLst>
            <pc:docMk/>
            <pc:sldMk cId="0" sldId="275"/>
            <ac:spMk id="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425" v="68967"/>
          <ac:spMkLst>
            <pc:docMk/>
            <pc:sldMk cId="0" sldId="275"/>
            <ac:spMk id="3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59"/>
          <ac:spMkLst>
            <pc:docMk/>
            <pc:sldMk cId="0" sldId="275"/>
            <ac:spMk id="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2"/>
          <ac:spMkLst>
            <pc:docMk/>
            <pc:sldMk cId="0" sldId="275"/>
            <ac:spMk id="3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3"/>
          <ac:spMkLst>
            <pc:docMk/>
            <pc:sldMk cId="0" sldId="275"/>
            <ac:spMk id="4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6"/>
          <ac:spMkLst>
            <pc:docMk/>
            <pc:sldMk cId="0" sldId="275"/>
            <ac:spMk id="4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7"/>
          <ac:spMkLst>
            <pc:docMk/>
            <pc:sldMk cId="0" sldId="275"/>
            <ac:spMk id="4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8"/>
          <ac:spMkLst>
            <pc:docMk/>
            <pc:sldMk cId="0" sldId="275"/>
            <ac:spMk id="43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1:58.793" v="92373"/>
          <ac:spMkLst>
            <pc:docMk/>
            <pc:sldMk cId="0" sldId="275"/>
            <ac:spMk id="46" creationId="{F014A236-AFAD-FEB6-68EB-C4764B9551CF}"/>
          </ac:spMkLst>
        </pc:spChg>
        <pc:spChg chg="add del mod ord replST">
          <ac:chgData name="vonWaldow, Ulrich" userId="c64b3fe1-2fbf-4408-adc4-30add62e991f" providerId="ADAL" clId="{B99A90B8-7D29-4456-AFD4-0F3DBA13A596}" dt="2024-08-27T12:28:11.425" v="68966"/>
          <ac:spMkLst>
            <pc:docMk/>
            <pc:sldMk cId="0" sldId="275"/>
            <ac:spMk id="47" creationId="{E57ABCEE-B551-6CF4-25FF-74A380563B74}"/>
          </ac:spMkLst>
        </pc:spChg>
        <pc:spChg chg="add del mod modVis">
          <ac:chgData name="vonWaldow, Ulrich" userId="c64b3fe1-2fbf-4408-adc4-30add62e991f" providerId="ADAL" clId="{B99A90B8-7D29-4456-AFD4-0F3DBA13A596}" dt="2024-08-27T12:27:44.182" v="68447"/>
          <ac:spMkLst>
            <pc:docMk/>
            <pc:sldMk cId="0" sldId="275"/>
            <ac:spMk id="48" creationId="{357CAE81-B515-5B42-7317-CB67C8094AF2}"/>
          </ac:spMkLst>
        </pc:spChg>
        <pc:spChg chg="add del mod modVis">
          <ac:chgData name="vonWaldow, Ulrich" userId="c64b3fe1-2fbf-4408-adc4-30add62e991f" providerId="ADAL" clId="{B99A90B8-7D29-4456-AFD4-0F3DBA13A596}" dt="2024-08-27T12:27:46.087" v="68574"/>
          <ac:spMkLst>
            <pc:docMk/>
            <pc:sldMk cId="0" sldId="275"/>
            <ac:spMk id="50" creationId="{83F011A2-0FD2-75EC-00BE-F7E74B06A215}"/>
          </ac:spMkLst>
        </pc:spChg>
        <pc:spChg chg="add del mod modVis">
          <ac:chgData name="vonWaldow, Ulrich" userId="c64b3fe1-2fbf-4408-adc4-30add62e991f" providerId="ADAL" clId="{B99A90B8-7D29-4456-AFD4-0F3DBA13A596}" dt="2024-08-27T12:27:47.009" v="68701"/>
          <ac:spMkLst>
            <pc:docMk/>
            <pc:sldMk cId="0" sldId="275"/>
            <ac:spMk id="52" creationId="{0A47C946-7AF0-0266-8011-6627DF7318C5}"/>
          </ac:spMkLst>
        </pc:spChg>
        <pc:spChg chg="add del mod modVis">
          <ac:chgData name="vonWaldow, Ulrich" userId="c64b3fe1-2fbf-4408-adc4-30add62e991f" providerId="ADAL" clId="{B99A90B8-7D29-4456-AFD4-0F3DBA13A596}" dt="2024-08-27T12:27:54.188" v="68828"/>
          <ac:spMkLst>
            <pc:docMk/>
            <pc:sldMk cId="0" sldId="275"/>
            <ac:spMk id="54" creationId="{AD275A02-BFF1-F1E7-32CE-516F978EC50C}"/>
          </ac:spMkLst>
        </pc:spChg>
        <pc:spChg chg="add del mod modVis">
          <ac:chgData name="vonWaldow, Ulrich" userId="c64b3fe1-2fbf-4408-adc4-30add62e991f" providerId="ADAL" clId="{B99A90B8-7D29-4456-AFD4-0F3DBA13A596}" dt="2024-08-27T12:28:10.455" v="68962"/>
          <ac:spMkLst>
            <pc:docMk/>
            <pc:sldMk cId="0" sldId="275"/>
            <ac:spMk id="56" creationId="{049C8EBB-FEAF-C46C-8A2B-2903387E73A1}"/>
          </ac:spMkLst>
        </pc:spChg>
        <pc:spChg chg="add del mod modVis">
          <ac:chgData name="vonWaldow, Ulrich" userId="c64b3fe1-2fbf-4408-adc4-30add62e991f" providerId="ADAL" clId="{B99A90B8-7D29-4456-AFD4-0F3DBA13A596}" dt="2024-08-27T12:28:11.657" v="69143"/>
          <ac:spMkLst>
            <pc:docMk/>
            <pc:sldMk cId="0" sldId="275"/>
            <ac:spMk id="58" creationId="{CAF5BFD7-20B1-5466-5504-D8F72306C0BD}"/>
          </ac:spMkLst>
        </pc:spChg>
        <pc:spChg chg="add del mod modVis">
          <ac:chgData name="vonWaldow, Ulrich" userId="c64b3fe1-2fbf-4408-adc4-30add62e991f" providerId="ADAL" clId="{B99A90B8-7D29-4456-AFD4-0F3DBA13A596}" dt="2024-08-27T12:28:23.335" v="69271"/>
          <ac:spMkLst>
            <pc:docMk/>
            <pc:sldMk cId="0" sldId="275"/>
            <ac:spMk id="60" creationId="{7A5F4D20-88EA-8923-BDF3-11D34253DCBA}"/>
          </ac:spMkLst>
        </pc:spChg>
        <pc:spChg chg="add del mod modVis">
          <ac:chgData name="vonWaldow, Ulrich" userId="c64b3fe1-2fbf-4408-adc4-30add62e991f" providerId="ADAL" clId="{B99A90B8-7D29-4456-AFD4-0F3DBA13A596}" dt="2024-08-27T12:28:45.287" v="69398"/>
          <ac:spMkLst>
            <pc:docMk/>
            <pc:sldMk cId="0" sldId="275"/>
            <ac:spMk id="62" creationId="{70130245-41B7-08E2-3BDC-A188F9DDE84C}"/>
          </ac:spMkLst>
        </pc:spChg>
        <pc:spChg chg="add del mod modVis">
          <ac:chgData name="vonWaldow, Ulrich" userId="c64b3fe1-2fbf-4408-adc4-30add62e991f" providerId="ADAL" clId="{B99A90B8-7D29-4456-AFD4-0F3DBA13A596}" dt="2024-08-27T12:29:01.740" v="69511"/>
          <ac:spMkLst>
            <pc:docMk/>
            <pc:sldMk cId="0" sldId="275"/>
            <ac:spMk id="12288" creationId="{01AEFC22-BE68-43F1-5873-23C9AA0052BE}"/>
          </ac:spMkLst>
        </pc:spChg>
        <pc:spChg chg="add del mod modVis">
          <ac:chgData name="vonWaldow, Ulrich" userId="c64b3fe1-2fbf-4408-adc4-30add62e991f" providerId="ADAL" clId="{B99A90B8-7D29-4456-AFD4-0F3DBA13A596}" dt="2024-08-27T12:29:21.436" v="69624"/>
          <ac:spMkLst>
            <pc:docMk/>
            <pc:sldMk cId="0" sldId="275"/>
            <ac:spMk id="12291" creationId="{1A2F70BF-3E83-8FFE-A491-A95EC65501D8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1"/>
          <ac:spMkLst>
            <pc:docMk/>
            <pc:sldMk cId="0" sldId="275"/>
            <ac:spMk id="12293" creationId="{9FBF6DB0-539B-7545-994D-3A74559B544D}"/>
          </ac:spMkLst>
        </pc:spChg>
        <pc:spChg chg="add del mod modVis">
          <ac:chgData name="vonWaldow, Ulrich" userId="c64b3fe1-2fbf-4408-adc4-30add62e991f" providerId="ADAL" clId="{B99A90B8-7D29-4456-AFD4-0F3DBA13A596}" dt="2024-08-27T12:29:29.468" v="69779"/>
          <ac:spMkLst>
            <pc:docMk/>
            <pc:sldMk cId="0" sldId="275"/>
            <ac:spMk id="12294" creationId="{AE02FA41-0129-56C6-7485-897A5E68D6C4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4"/>
          <ac:spMkLst>
            <pc:docMk/>
            <pc:sldMk cId="0" sldId="275"/>
            <ac:spMk id="12296" creationId="{3467A673-63AC-6394-A4AE-C6687BE5A0C3}"/>
          </ac:spMkLst>
        </pc:spChg>
        <pc:spChg chg="add del mod modVis">
          <ac:chgData name="vonWaldow, Ulrich" userId="c64b3fe1-2fbf-4408-adc4-30add62e991f" providerId="ADAL" clId="{B99A90B8-7D29-4456-AFD4-0F3DBA13A596}" dt="2024-08-27T12:29:35.142" v="69940"/>
          <ac:spMkLst>
            <pc:docMk/>
            <pc:sldMk cId="0" sldId="275"/>
            <ac:spMk id="12297" creationId="{82E52B12-8564-BD5A-406B-84FFB66CD1FC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5"/>
          <ac:spMkLst>
            <pc:docMk/>
            <pc:sldMk cId="0" sldId="275"/>
            <ac:spMk id="12299" creationId="{984FD0AC-549C-7335-A14F-F8E561445883}"/>
          </ac:spMkLst>
        </pc:spChg>
        <pc:spChg chg="add del mod modVis">
          <ac:chgData name="vonWaldow, Ulrich" userId="c64b3fe1-2fbf-4408-adc4-30add62e991f" providerId="ADAL" clId="{B99A90B8-7D29-4456-AFD4-0F3DBA13A596}" dt="2024-08-27T12:29:47.504" v="70105"/>
          <ac:spMkLst>
            <pc:docMk/>
            <pc:sldMk cId="0" sldId="275"/>
            <ac:spMk id="12300" creationId="{5A7EC122-6C76-E086-7F31-5924E1517C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0"/>
          <ac:spMkLst>
            <pc:docMk/>
            <pc:sldMk cId="0" sldId="275"/>
            <ac:spMk id="12302" creationId="{5B94E8D8-1CE9-2987-7F8C-CC56D6FF2D47}"/>
          </ac:spMkLst>
        </pc:spChg>
        <pc:spChg chg="add del mod modVis">
          <ac:chgData name="vonWaldow, Ulrich" userId="c64b3fe1-2fbf-4408-adc4-30add62e991f" providerId="ADAL" clId="{B99A90B8-7D29-4456-AFD4-0F3DBA13A596}" dt="2024-08-27T12:29:51.032" v="70274"/>
          <ac:spMkLst>
            <pc:docMk/>
            <pc:sldMk cId="0" sldId="275"/>
            <ac:spMk id="12303" creationId="{0A2E11FF-4DA9-3FE4-9E5B-3D99A5744556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58"/>
          <ac:spMkLst>
            <pc:docMk/>
            <pc:sldMk cId="0" sldId="275"/>
            <ac:spMk id="12305" creationId="{33299818-CCD8-2D9F-6990-D7D3D41E2BB0}"/>
          </ac:spMkLst>
        </pc:spChg>
        <pc:spChg chg="add del mod modVis">
          <ac:chgData name="vonWaldow, Ulrich" userId="c64b3fe1-2fbf-4408-adc4-30add62e991f" providerId="ADAL" clId="{B99A90B8-7D29-4456-AFD4-0F3DBA13A596}" dt="2024-08-27T12:30:04.145" v="70447"/>
          <ac:spMkLst>
            <pc:docMk/>
            <pc:sldMk cId="0" sldId="275"/>
            <ac:spMk id="12306" creationId="{ECD672FF-8EFC-EDBC-87CC-458C86619E72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6"/>
          <ac:spMkLst>
            <pc:docMk/>
            <pc:sldMk cId="0" sldId="275"/>
            <ac:spMk id="12308" creationId="{02671F38-E5E0-8018-E75D-F7D0B3923FF9}"/>
          </ac:spMkLst>
        </pc:spChg>
        <pc:spChg chg="add del mod modVis">
          <ac:chgData name="vonWaldow, Ulrich" userId="c64b3fe1-2fbf-4408-adc4-30add62e991f" providerId="ADAL" clId="{B99A90B8-7D29-4456-AFD4-0F3DBA13A596}" dt="2024-08-27T12:30:16.882" v="70624"/>
          <ac:spMkLst>
            <pc:docMk/>
            <pc:sldMk cId="0" sldId="275"/>
            <ac:spMk id="12309" creationId="{D4C9A229-17C9-BFFB-58FA-A7CA5E93582F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7"/>
          <ac:spMkLst>
            <pc:docMk/>
            <pc:sldMk cId="0" sldId="275"/>
            <ac:spMk id="12311" creationId="{2D9C664A-E02B-9689-F652-A5C5641C74F3}"/>
          </ac:spMkLst>
        </pc:spChg>
        <pc:spChg chg="add del mod modVis">
          <ac:chgData name="vonWaldow, Ulrich" userId="c64b3fe1-2fbf-4408-adc4-30add62e991f" providerId="ADAL" clId="{B99A90B8-7D29-4456-AFD4-0F3DBA13A596}" dt="2024-08-27T12:30:24.010" v="70805"/>
          <ac:spMkLst>
            <pc:docMk/>
            <pc:sldMk cId="0" sldId="275"/>
            <ac:spMk id="12312" creationId="{A682AA21-72CB-2697-6F76-C0C51693FCBF}"/>
          </ac:spMkLst>
        </pc:spChg>
        <pc:spChg chg="add del mod modVis">
          <ac:chgData name="vonWaldow, Ulrich" userId="c64b3fe1-2fbf-4408-adc4-30add62e991f" providerId="ADAL" clId="{B99A90B8-7D29-4456-AFD4-0F3DBA13A596}" dt="2024-08-27T12:30:51.052" v="71130"/>
          <ac:spMkLst>
            <pc:docMk/>
            <pc:sldMk cId="0" sldId="275"/>
            <ac:spMk id="12314" creationId="{E10E2D1B-716B-2758-115C-B293BD9360EA}"/>
          </ac:spMkLst>
        </pc:spChg>
        <pc:spChg chg="add del mod ord replST">
          <ac:chgData name="vonWaldow, Ulrich" userId="c64b3fe1-2fbf-4408-adc4-30add62e991f" providerId="ADAL" clId="{B99A90B8-7D29-4456-AFD4-0F3DBA13A596}" dt="2024-08-27T12:30:59.395" v="71193"/>
          <ac:spMkLst>
            <pc:docMk/>
            <pc:sldMk cId="0" sldId="275"/>
            <ac:spMk id="12315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1:03.235" v="71367"/>
          <ac:spMkLst>
            <pc:docMk/>
            <pc:sldMk cId="0" sldId="275"/>
            <ac:spMk id="1231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1:03.235" v="71368"/>
          <ac:spMkLst>
            <pc:docMk/>
            <pc:sldMk cId="0" sldId="275"/>
            <ac:spMk id="1231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0:59.476" v="71290"/>
          <ac:spMkLst>
            <pc:docMk/>
            <pc:sldMk cId="0" sldId="275"/>
            <ac:spMk id="12319" creationId="{1A42E446-6769-4DCA-1B61-6AEC9079AE5D}"/>
          </ac:spMkLst>
        </pc:spChg>
        <pc:spChg chg="add del mod modVis">
          <ac:chgData name="vonWaldow, Ulrich" userId="c64b3fe1-2fbf-4408-adc4-30add62e991f" providerId="ADAL" clId="{B99A90B8-7D29-4456-AFD4-0F3DBA13A596}" dt="2024-08-27T12:31:03.314" v="71458"/>
          <ac:spMkLst>
            <pc:docMk/>
            <pc:sldMk cId="0" sldId="275"/>
            <ac:spMk id="12321" creationId="{8D589C37-73BB-6D01-FB38-AA3A5867079D}"/>
          </ac:spMkLst>
        </pc:spChg>
        <pc:spChg chg="add del mod modVis">
          <ac:chgData name="vonWaldow, Ulrich" userId="c64b3fe1-2fbf-4408-adc4-30add62e991f" providerId="ADAL" clId="{B99A90B8-7D29-4456-AFD4-0F3DBA13A596}" dt="2024-08-27T12:31:13.704" v="71657"/>
          <ac:spMkLst>
            <pc:docMk/>
            <pc:sldMk cId="0" sldId="275"/>
            <ac:spMk id="12324" creationId="{00104BAF-1545-F8A1-8D60-7DA781819624}"/>
          </ac:spMkLst>
        </pc:spChg>
        <pc:spChg chg="add del mod ord replST">
          <ac:chgData name="vonWaldow, Ulrich" userId="c64b3fe1-2fbf-4408-adc4-30add62e991f" providerId="ADAL" clId="{B99A90B8-7D29-4456-AFD4-0F3DBA13A596}" dt="2024-08-27T12:32:54.986" v="74771"/>
          <ac:spMkLst>
            <pc:docMk/>
            <pc:sldMk cId="0" sldId="275"/>
            <ac:spMk id="1232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1:18.735" v="71806"/>
          <ac:spMkLst>
            <pc:docMk/>
            <pc:sldMk cId="0" sldId="275"/>
            <ac:spMk id="12327" creationId="{BE505D97-F69C-04C0-FC6A-F363AD324D71}"/>
          </ac:spMkLst>
        </pc:spChg>
        <pc:spChg chg="add del mod modVis">
          <ac:chgData name="vonWaldow, Ulrich" userId="c64b3fe1-2fbf-4408-adc4-30add62e991f" providerId="ADAL" clId="{B99A90B8-7D29-4456-AFD4-0F3DBA13A596}" dt="2024-08-27T12:31:23.707" v="71949"/>
          <ac:spMkLst>
            <pc:docMk/>
            <pc:sldMk cId="0" sldId="275"/>
            <ac:spMk id="12330" creationId="{4A95388B-E783-C219-5609-7C866CE38926}"/>
          </ac:spMkLst>
        </pc:spChg>
        <pc:spChg chg="add del mod modVis">
          <ac:chgData name="vonWaldow, Ulrich" userId="c64b3fe1-2fbf-4408-adc4-30add62e991f" providerId="ADAL" clId="{B99A90B8-7D29-4456-AFD4-0F3DBA13A596}" dt="2024-08-27T12:31:35.344" v="72092"/>
          <ac:spMkLst>
            <pc:docMk/>
            <pc:sldMk cId="0" sldId="275"/>
            <ac:spMk id="12333" creationId="{CCC4DF2D-B569-07AD-1C15-46CD3010DE0F}"/>
          </ac:spMkLst>
        </pc:spChg>
        <pc:spChg chg="add del mod modVis">
          <ac:chgData name="vonWaldow, Ulrich" userId="c64b3fe1-2fbf-4408-adc4-30add62e991f" providerId="ADAL" clId="{B99A90B8-7D29-4456-AFD4-0F3DBA13A596}" dt="2024-08-27T12:31:51.864" v="72235"/>
          <ac:spMkLst>
            <pc:docMk/>
            <pc:sldMk cId="0" sldId="275"/>
            <ac:spMk id="12336" creationId="{4B29C842-7D28-3751-3A91-43B6CCB92202}"/>
          </ac:spMkLst>
        </pc:spChg>
        <pc:spChg chg="add del mod modVis">
          <ac:chgData name="vonWaldow, Ulrich" userId="c64b3fe1-2fbf-4408-adc4-30add62e991f" providerId="ADAL" clId="{B99A90B8-7D29-4456-AFD4-0F3DBA13A596}" dt="2024-08-27T12:32:03.028" v="72365"/>
          <ac:spMkLst>
            <pc:docMk/>
            <pc:sldMk cId="0" sldId="275"/>
            <ac:spMk id="12339" creationId="{E02D2EC6-C18A-1552-FAB7-5C57589614D1}"/>
          </ac:spMkLst>
        </pc:spChg>
        <pc:spChg chg="add del mod modVis">
          <ac:chgData name="vonWaldow, Ulrich" userId="c64b3fe1-2fbf-4408-adc4-30add62e991f" providerId="ADAL" clId="{B99A90B8-7D29-4456-AFD4-0F3DBA13A596}" dt="2024-08-27T12:32:18.019" v="72491"/>
          <ac:spMkLst>
            <pc:docMk/>
            <pc:sldMk cId="0" sldId="275"/>
            <ac:spMk id="12341" creationId="{24A325B6-D692-58EA-1B76-FDE37A6A2240}"/>
          </ac:spMkLst>
        </pc:spChg>
        <pc:spChg chg="add del mod modVis">
          <ac:chgData name="vonWaldow, Ulrich" userId="c64b3fe1-2fbf-4408-adc4-30add62e991f" providerId="ADAL" clId="{B99A90B8-7D29-4456-AFD4-0F3DBA13A596}" dt="2024-08-27T12:32:29.145" v="72648"/>
          <ac:spMkLst>
            <pc:docMk/>
            <pc:sldMk cId="0" sldId="275"/>
            <ac:spMk id="12343" creationId="{DBD26B6A-A9F2-BE75-A1B7-EEED4CD22C40}"/>
          </ac:spMkLst>
        </pc:spChg>
        <pc:spChg chg="add del mod modVis">
          <ac:chgData name="vonWaldow, Ulrich" userId="c64b3fe1-2fbf-4408-adc4-30add62e991f" providerId="ADAL" clId="{B99A90B8-7D29-4456-AFD4-0F3DBA13A596}" dt="2024-08-27T12:32:43.285" v="74555"/>
          <ac:spMkLst>
            <pc:docMk/>
            <pc:sldMk cId="0" sldId="275"/>
            <ac:spMk id="12345" creationId="{5ACB6C62-A74D-2E13-4EFD-64AFC9B6DC61}"/>
          </ac:spMkLst>
        </pc:spChg>
        <pc:spChg chg="add del mod replST">
          <ac:chgData name="vonWaldow, Ulrich" userId="c64b3fe1-2fbf-4408-adc4-30add62e991f" providerId="ADAL" clId="{B99A90B8-7D29-4456-AFD4-0F3DBA13A596}" dt="2024-08-27T12:32:57.143" v="74990"/>
          <ac:spMkLst>
            <pc:docMk/>
            <pc:sldMk cId="0" sldId="275"/>
            <ac:spMk id="12346" creationId="{BF1B82FC-34B0-7A55-456D-D237AAC034AF}"/>
          </ac:spMkLst>
        </pc:spChg>
        <pc:spChg chg="add del mod replST">
          <ac:chgData name="vonWaldow, Ulrich" userId="c64b3fe1-2fbf-4408-adc4-30add62e991f" providerId="ADAL" clId="{B99A90B8-7D29-4456-AFD4-0F3DBA13A596}" dt="2024-08-27T12:32:57.166" v="75008"/>
          <ac:spMkLst>
            <pc:docMk/>
            <pc:sldMk cId="0" sldId="275"/>
            <ac:spMk id="12347" creationId="{C4F8B2C7-9E2F-B01F-90C1-A5C14F86ADEA}"/>
          </ac:spMkLst>
        </pc:spChg>
        <pc:spChg chg="add del mod ord replST">
          <ac:chgData name="vonWaldow, Ulrich" userId="c64b3fe1-2fbf-4408-adc4-30add62e991f" providerId="ADAL" clId="{B99A90B8-7D29-4456-AFD4-0F3DBA13A596}" dt="2024-08-27T12:32:57.190" v="75027"/>
          <ac:spMkLst>
            <pc:docMk/>
            <pc:sldMk cId="0" sldId="275"/>
            <ac:spMk id="12348" creationId="{EDBA3D85-D499-8A48-4728-23FE2E8A1AB7}"/>
          </ac:spMkLst>
        </pc:spChg>
        <pc:spChg chg="add del mod replST">
          <ac:chgData name="vonWaldow, Ulrich" userId="c64b3fe1-2fbf-4408-adc4-30add62e991f" providerId="ADAL" clId="{B99A90B8-7D29-4456-AFD4-0F3DBA13A596}" dt="2024-08-27T12:32:57.190" v="75038"/>
          <ac:spMkLst>
            <pc:docMk/>
            <pc:sldMk cId="0" sldId="275"/>
            <ac:spMk id="12349" creationId="{FCE7D81C-FE59-6CFB-F345-F4F51B7726DE}"/>
          </ac:spMkLst>
        </pc:spChg>
        <pc:spChg chg="add del mod replST">
          <ac:chgData name="vonWaldow, Ulrich" userId="c64b3fe1-2fbf-4408-adc4-30add62e991f" providerId="ADAL" clId="{B99A90B8-7D29-4456-AFD4-0F3DBA13A596}" dt="2024-08-27T12:32:57.221" v="75056"/>
          <ac:spMkLst>
            <pc:docMk/>
            <pc:sldMk cId="0" sldId="275"/>
            <ac:spMk id="12350" creationId="{651FE94E-E889-9EA9-45D6-65947FF92524}"/>
          </ac:spMkLst>
        </pc:spChg>
        <pc:spChg chg="add del mod ord replST">
          <ac:chgData name="vonWaldow, Ulrich" userId="c64b3fe1-2fbf-4408-adc4-30add62e991f" providerId="ADAL" clId="{B99A90B8-7D29-4456-AFD4-0F3DBA13A596}" dt="2024-08-27T12:32:57.237" v="75075"/>
          <ac:spMkLst>
            <pc:docMk/>
            <pc:sldMk cId="0" sldId="275"/>
            <ac:spMk id="12351" creationId="{80F053C8-896A-C915-C392-67EB641052A3}"/>
          </ac:spMkLst>
        </pc:spChg>
        <pc:spChg chg="add del mod replST">
          <ac:chgData name="vonWaldow, Ulrich" userId="c64b3fe1-2fbf-4408-adc4-30add62e991f" providerId="ADAL" clId="{B99A90B8-7D29-4456-AFD4-0F3DBA13A596}" dt="2024-08-27T12:32:57.252" v="75086"/>
          <ac:spMkLst>
            <pc:docMk/>
            <pc:sldMk cId="0" sldId="275"/>
            <ac:spMk id="12352" creationId="{AD98B7F4-C2A3-4A1F-3A42-591E96964E5E}"/>
          </ac:spMkLst>
        </pc:spChg>
        <pc:spChg chg="add del mod replST">
          <ac:chgData name="vonWaldow, Ulrich" userId="c64b3fe1-2fbf-4408-adc4-30add62e991f" providerId="ADAL" clId="{B99A90B8-7D29-4456-AFD4-0F3DBA13A596}" dt="2024-08-27T12:32:57.268" v="75104"/>
          <ac:spMkLst>
            <pc:docMk/>
            <pc:sldMk cId="0" sldId="275"/>
            <ac:spMk id="12353" creationId="{DB6ABDCC-AAA0-D664-9C85-A6FA956125C5}"/>
          </ac:spMkLst>
        </pc:spChg>
        <pc:spChg chg="add del mod ord replST">
          <ac:chgData name="vonWaldow, Ulrich" userId="c64b3fe1-2fbf-4408-adc4-30add62e991f" providerId="ADAL" clId="{B99A90B8-7D29-4456-AFD4-0F3DBA13A596}" dt="2024-08-27T12:32:57.284" v="75123"/>
          <ac:spMkLst>
            <pc:docMk/>
            <pc:sldMk cId="0" sldId="275"/>
            <ac:spMk id="12354" creationId="{7C669D5D-8950-BA78-7E78-FA301DA6E37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61"/>
          <ac:spMkLst>
            <pc:docMk/>
            <pc:sldMk cId="0" sldId="275"/>
            <ac:spMk id="12355" creationId="{7D680D0A-246F-9460-7B42-BE627C8DE57B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60"/>
          <ac:spMkLst>
            <pc:docMk/>
            <pc:sldMk cId="0" sldId="275"/>
            <ac:spMk id="12356" creationId="{CB27A6D2-2167-0C9B-2F07-797D541928B2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9"/>
          <ac:spMkLst>
            <pc:docMk/>
            <pc:sldMk cId="0" sldId="275"/>
            <ac:spMk id="12357" creationId="{EC383D13-3EBF-DEF3-E375-737BEF4AA3C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7"/>
          <ac:spMkLst>
            <pc:docMk/>
            <pc:sldMk cId="0" sldId="275"/>
            <ac:spMk id="12358" creationId="{7A155759-AE53-E5D1-E9F9-616C3093C5DE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6"/>
          <ac:spMkLst>
            <pc:docMk/>
            <pc:sldMk cId="0" sldId="275"/>
            <ac:spMk id="12359" creationId="{41BD8E07-223B-A697-C133-F3064FDA26A8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5"/>
          <ac:spMkLst>
            <pc:docMk/>
            <pc:sldMk cId="0" sldId="275"/>
            <ac:spMk id="12360" creationId="{C9E2100D-3BD8-76FC-9C94-9651314CCB18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3"/>
          <ac:spMkLst>
            <pc:docMk/>
            <pc:sldMk cId="0" sldId="275"/>
            <ac:spMk id="12361" creationId="{7B1ADEF3-7D46-CFAB-8613-D8A50E0A1A9E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2"/>
          <ac:spMkLst>
            <pc:docMk/>
            <pc:sldMk cId="0" sldId="275"/>
            <ac:spMk id="12362" creationId="{B1502696-811F-1698-2B89-FF4FAF3AACE3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1"/>
          <ac:spMkLst>
            <pc:docMk/>
            <pc:sldMk cId="0" sldId="275"/>
            <ac:spMk id="12363" creationId="{33791E36-ABC5-6327-7EB3-22981E6611A9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9"/>
          <ac:spMkLst>
            <pc:docMk/>
            <pc:sldMk cId="0" sldId="275"/>
            <ac:spMk id="12364" creationId="{CF0CBBF0-2B0A-9605-E3B5-E965462C97B3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8"/>
          <ac:spMkLst>
            <pc:docMk/>
            <pc:sldMk cId="0" sldId="275"/>
            <ac:spMk id="12365" creationId="{E193E16A-79F0-6871-7B22-C2A2BFB32818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47"/>
          <ac:spMkLst>
            <pc:docMk/>
            <pc:sldMk cId="0" sldId="275"/>
            <ac:spMk id="12366" creationId="{823A05FB-2086-5004-9B1B-7FB3029F2AC1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5"/>
          <ac:spMkLst>
            <pc:docMk/>
            <pc:sldMk cId="0" sldId="275"/>
            <ac:spMk id="12367" creationId="{ABD0B0DC-F37A-D7D9-53E7-5BEDBA36A09B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4"/>
          <ac:spMkLst>
            <pc:docMk/>
            <pc:sldMk cId="0" sldId="275"/>
            <ac:spMk id="12368" creationId="{DFC3D1F1-2EBC-E207-A0AD-1870AB0F46A0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43"/>
          <ac:spMkLst>
            <pc:docMk/>
            <pc:sldMk cId="0" sldId="275"/>
            <ac:spMk id="12369" creationId="{61827030-EE26-8F1C-0ACF-A8DB0B00840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1"/>
          <ac:spMkLst>
            <pc:docMk/>
            <pc:sldMk cId="0" sldId="275"/>
            <ac:spMk id="12370" creationId="{7EC27B13-DF75-7B39-6ACE-D33FDA7CD343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0"/>
          <ac:spMkLst>
            <pc:docMk/>
            <pc:sldMk cId="0" sldId="275"/>
            <ac:spMk id="12371" creationId="{C4B5B8D0-6CA3-1B7F-DCFD-3ECFC7DAA5FA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39"/>
          <ac:spMkLst>
            <pc:docMk/>
            <pc:sldMk cId="0" sldId="275"/>
            <ac:spMk id="12372" creationId="{481740B9-368A-9E3F-D79E-906B9B307FB5}"/>
          </ac:spMkLst>
        </pc:spChg>
        <pc:spChg chg="add del mod replST">
          <ac:chgData name="vonWaldow, Ulrich" userId="c64b3fe1-2fbf-4408-adc4-30add62e991f" providerId="ADAL" clId="{B99A90B8-7D29-4456-AFD4-0F3DBA13A596}" dt="2024-08-27T12:32:57.284" v="75137"/>
          <ac:spMkLst>
            <pc:docMk/>
            <pc:sldMk cId="0" sldId="275"/>
            <ac:spMk id="12373" creationId="{36BD8A6D-7B17-ADE4-7D9E-76BA61483D55}"/>
          </ac:spMkLst>
        </pc:spChg>
        <pc:spChg chg="add del mod replST">
          <ac:chgData name="vonWaldow, Ulrich" userId="c64b3fe1-2fbf-4408-adc4-30add62e991f" providerId="ADAL" clId="{B99A90B8-7D29-4456-AFD4-0F3DBA13A596}" dt="2024-08-27T12:32:57.284" v="75136"/>
          <ac:spMkLst>
            <pc:docMk/>
            <pc:sldMk cId="0" sldId="275"/>
            <ac:spMk id="12374" creationId="{A5BD0908-F563-A65E-4FA5-618DDF0455C2}"/>
          </ac:spMkLst>
        </pc:spChg>
        <pc:spChg chg="add del mod ord replST">
          <ac:chgData name="vonWaldow, Ulrich" userId="c64b3fe1-2fbf-4408-adc4-30add62e991f" providerId="ADAL" clId="{B99A90B8-7D29-4456-AFD4-0F3DBA13A596}" dt="2024-08-27T12:32:57.284" v="75135"/>
          <ac:spMkLst>
            <pc:docMk/>
            <pc:sldMk cId="0" sldId="275"/>
            <ac:spMk id="12375" creationId="{4DB3D707-99BF-798C-5A1A-AA7A37D9449C}"/>
          </ac:spMkLst>
        </pc:spChg>
        <pc:spChg chg="add del mod replST">
          <ac:chgData name="vonWaldow, Ulrich" userId="c64b3fe1-2fbf-4408-adc4-30add62e991f" providerId="ADAL" clId="{B99A90B8-7D29-4456-AFD4-0F3DBA13A596}" dt="2024-08-27T12:32:54.970" v="74767"/>
          <ac:spMkLst>
            <pc:docMk/>
            <pc:sldMk cId="0" sldId="275"/>
            <ac:spMk id="1237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70" v="74766"/>
          <ac:spMkLst>
            <pc:docMk/>
            <pc:sldMk cId="0" sldId="275"/>
            <ac:spMk id="1237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69"/>
          <ac:spMkLst>
            <pc:docMk/>
            <pc:sldMk cId="0" sldId="275"/>
            <ac:spMk id="1237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2"/>
          <ac:spMkLst>
            <pc:docMk/>
            <pc:sldMk cId="0" sldId="275"/>
            <ac:spMk id="1237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2:54.970" v="74765"/>
          <ac:spMkLst>
            <pc:docMk/>
            <pc:sldMk cId="0" sldId="275"/>
            <ac:spMk id="1238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68"/>
          <ac:spMkLst>
            <pc:docMk/>
            <pc:sldMk cId="0" sldId="275"/>
            <ac:spMk id="123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3"/>
          <ac:spMkLst>
            <pc:docMk/>
            <pc:sldMk cId="0" sldId="275"/>
            <ac:spMk id="1238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2:54.986" v="74775"/>
          <ac:spMkLst>
            <pc:docMk/>
            <pc:sldMk cId="0" sldId="275"/>
            <ac:spMk id="1238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6"/>
          <ac:spMkLst>
            <pc:docMk/>
            <pc:sldMk cId="0" sldId="275"/>
            <ac:spMk id="1238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96" v="79293"/>
          <ac:spMkLst>
            <pc:docMk/>
            <pc:sldMk cId="0" sldId="275"/>
            <ac:spMk id="1238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62" v="79264"/>
          <ac:spMkLst>
            <pc:docMk/>
            <pc:sldMk cId="0" sldId="275"/>
            <ac:spMk id="1238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4"/>
          <ac:spMkLst>
            <pc:docMk/>
            <pc:sldMk cId="0" sldId="275"/>
            <ac:spMk id="1238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1"/>
          <ac:spMkLst>
            <pc:docMk/>
            <pc:sldMk cId="0" sldId="275"/>
            <ac:spMk id="1238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8"/>
          <ac:spMkLst>
            <pc:docMk/>
            <pc:sldMk cId="0" sldId="275"/>
            <ac:spMk id="1238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5"/>
          <ac:spMkLst>
            <pc:docMk/>
            <pc:sldMk cId="0" sldId="275"/>
            <ac:spMk id="1239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8"/>
          <ac:spMkLst>
            <pc:docMk/>
            <pc:sldMk cId="0" sldId="275"/>
            <ac:spMk id="1239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2"/>
          <ac:spMkLst>
            <pc:docMk/>
            <pc:sldMk cId="0" sldId="275"/>
            <ac:spMk id="123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39"/>
          <ac:spMkLst>
            <pc:docMk/>
            <pc:sldMk cId="0" sldId="275"/>
            <ac:spMk id="123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36"/>
          <ac:spMkLst>
            <pc:docMk/>
            <pc:sldMk cId="0" sldId="275"/>
            <ac:spMk id="1239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2:52.717" v="74761"/>
          <ac:spMkLst>
            <pc:docMk/>
            <pc:sldMk cId="0" sldId="275"/>
            <ac:spMk id="12406" creationId="{CF6E01B1-B4B3-6066-84E9-A4F8C278FA1C}"/>
          </ac:spMkLst>
        </pc:spChg>
        <pc:spChg chg="add del mod modVis">
          <ac:chgData name="vonWaldow, Ulrich" userId="c64b3fe1-2fbf-4408-adc4-30add62e991f" providerId="ADAL" clId="{B99A90B8-7D29-4456-AFD4-0F3DBA13A596}" dt="2024-08-27T12:32:55.142" v="74947"/>
          <ac:spMkLst>
            <pc:docMk/>
            <pc:sldMk cId="0" sldId="275"/>
            <ac:spMk id="12408" creationId="{5125F07B-B122-A02D-D3D1-D5CFDE91861E}"/>
          </ac:spMkLst>
        </pc:spChg>
        <pc:spChg chg="add del mod modVis">
          <ac:chgData name="vonWaldow, Ulrich" userId="c64b3fe1-2fbf-4408-adc4-30add62e991f" providerId="ADAL" clId="{B99A90B8-7D29-4456-AFD4-0F3DBA13A596}" dt="2024-08-27T12:32:57.425" v="75265"/>
          <ac:spMkLst>
            <pc:docMk/>
            <pc:sldMk cId="0" sldId="275"/>
            <ac:spMk id="12410" creationId="{685EC537-7078-5623-AAF1-D29D8860AAC9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8"/>
          <ac:spMkLst>
            <pc:docMk/>
            <pc:sldMk cId="0" sldId="275"/>
            <ac:spMk id="12411" creationId="{638342A9-3222-D820-05F3-92230EC240D5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7"/>
          <ac:spMkLst>
            <pc:docMk/>
            <pc:sldMk cId="0" sldId="275"/>
            <ac:spMk id="12412" creationId="{4341046F-A4C1-1A98-E3E7-4521B0353CFC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16"/>
          <ac:spMkLst>
            <pc:docMk/>
            <pc:sldMk cId="0" sldId="275"/>
            <ac:spMk id="12413" creationId="{436F3451-985B-4B02-55AE-8817F8F254F5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4"/>
          <ac:spMkLst>
            <pc:docMk/>
            <pc:sldMk cId="0" sldId="275"/>
            <ac:spMk id="12414" creationId="{54B3F66D-23C3-FC24-5F8C-CC68D42C5511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3"/>
          <ac:spMkLst>
            <pc:docMk/>
            <pc:sldMk cId="0" sldId="275"/>
            <ac:spMk id="12415" creationId="{505AE7DB-669A-4019-0F38-A38896325BE1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12"/>
          <ac:spMkLst>
            <pc:docMk/>
            <pc:sldMk cId="0" sldId="275"/>
            <ac:spMk id="12416" creationId="{D360C0A5-54C6-405B-DE7C-BBC742C478BC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0"/>
          <ac:spMkLst>
            <pc:docMk/>
            <pc:sldMk cId="0" sldId="275"/>
            <ac:spMk id="12417" creationId="{54CD1F90-7EEB-8DB8-BAA7-C883FEB1721A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09"/>
          <ac:spMkLst>
            <pc:docMk/>
            <pc:sldMk cId="0" sldId="275"/>
            <ac:spMk id="12418" creationId="{C4CF1DB2-710D-2EA2-DE1E-D50FD06093B2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08"/>
          <ac:spMkLst>
            <pc:docMk/>
            <pc:sldMk cId="0" sldId="275"/>
            <ac:spMk id="12419" creationId="{11F4B327-5334-5BD1-8784-A472AD1BED1E}"/>
          </ac:spMkLst>
        </pc:spChg>
        <pc:spChg chg="add del mod modVis">
          <ac:chgData name="vonWaldow, Ulrich" userId="c64b3fe1-2fbf-4408-adc4-30add62e991f" providerId="ADAL" clId="{B99A90B8-7D29-4456-AFD4-0F3DBA13A596}" dt="2024-08-27T12:33:07.196" v="76062"/>
          <ac:spMkLst>
            <pc:docMk/>
            <pc:sldMk cId="0" sldId="275"/>
            <ac:spMk id="12421" creationId="{28EC660A-C68E-B2D2-3B61-C52CFC980BBD}"/>
          </ac:spMkLst>
        </pc:spChg>
        <pc:spChg chg="add del mod ord replST">
          <ac:chgData name="vonWaldow, Ulrich" userId="c64b3fe1-2fbf-4408-adc4-30add62e991f" providerId="ADAL" clId="{B99A90B8-7D29-4456-AFD4-0F3DBA13A596}" dt="2024-08-27T12:35:52.201" v="79530"/>
          <ac:spMkLst>
            <pc:docMk/>
            <pc:sldMk cId="0" sldId="275"/>
            <ac:spMk id="12422" creationId="{1FFF47A7-8382-2DFD-500F-470CEC9E5ED7}"/>
          </ac:spMkLst>
        </pc:spChg>
        <pc:spChg chg="add del mod ord replST">
          <ac:chgData name="vonWaldow, Ulrich" userId="c64b3fe1-2fbf-4408-adc4-30add62e991f" providerId="ADAL" clId="{B99A90B8-7D29-4456-AFD4-0F3DBA13A596}" dt="2024-08-27T12:35:52.201" v="79528"/>
          <ac:spMkLst>
            <pc:docMk/>
            <pc:sldMk cId="0" sldId="275"/>
            <ac:spMk id="12423" creationId="{BC6BA397-E4EC-6D26-07FD-B24E0CB02FDC}"/>
          </ac:spMkLst>
        </pc:spChg>
        <pc:spChg chg="add del mod ord replST">
          <ac:chgData name="vonWaldow, Ulrich" userId="c64b3fe1-2fbf-4408-adc4-30add62e991f" providerId="ADAL" clId="{B99A90B8-7D29-4456-AFD4-0F3DBA13A596}" dt="2024-08-27T12:35:52.185" v="79526"/>
          <ac:spMkLst>
            <pc:docMk/>
            <pc:sldMk cId="0" sldId="275"/>
            <ac:spMk id="12424" creationId="{DBA68AB4-5706-A988-1DD6-2A75BE7A827F}"/>
          </ac:spMkLst>
        </pc:spChg>
        <pc:spChg chg="add del mod replST">
          <ac:chgData name="vonWaldow, Ulrich" userId="c64b3fe1-2fbf-4408-adc4-30add62e991f" providerId="ADAL" clId="{B99A90B8-7D29-4456-AFD4-0F3DBA13A596}" dt="2024-08-27T12:35:52.279" v="79602"/>
          <ac:spMkLst>
            <pc:docMk/>
            <pc:sldMk cId="0" sldId="275"/>
            <ac:spMk id="124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85"/>
          <ac:spMkLst>
            <pc:docMk/>
            <pc:sldMk cId="0" sldId="275"/>
            <ac:spMk id="124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79" v="79603"/>
          <ac:spMkLst>
            <pc:docMk/>
            <pc:sldMk cId="0" sldId="275"/>
            <ac:spMk id="124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82"/>
          <ac:spMkLst>
            <pc:docMk/>
            <pc:sldMk cId="0" sldId="275"/>
            <ac:spMk id="124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9"/>
          <ac:spMkLst>
            <pc:docMk/>
            <pc:sldMk cId="0" sldId="275"/>
            <ac:spMk id="124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6"/>
          <ac:spMkLst>
            <pc:docMk/>
            <pc:sldMk cId="0" sldId="275"/>
            <ac:spMk id="124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3"/>
          <ac:spMkLst>
            <pc:docMk/>
            <pc:sldMk cId="0" sldId="275"/>
            <ac:spMk id="124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0"/>
          <ac:spMkLst>
            <pc:docMk/>
            <pc:sldMk cId="0" sldId="275"/>
            <ac:spMk id="1243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4:52.552" v="76245"/>
          <ac:spMkLst>
            <pc:docMk/>
            <pc:sldMk cId="0" sldId="275"/>
            <ac:spMk id="12442" creationId="{EB0FA5E3-731F-37FA-B18E-C676037327C4}"/>
          </ac:spMkLst>
        </pc:spChg>
        <pc:spChg chg="add del mod modVis">
          <ac:chgData name="vonWaldow, Ulrich" userId="c64b3fe1-2fbf-4408-adc4-30add62e991f" providerId="ADAL" clId="{B99A90B8-7D29-4456-AFD4-0F3DBA13A596}" dt="2024-08-27T12:34:53.875" v="76580"/>
          <ac:spMkLst>
            <pc:docMk/>
            <pc:sldMk cId="0" sldId="275"/>
            <ac:spMk id="12444" creationId="{28654D35-8B71-329B-B0B8-ACFC8CAF8AF4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7"/>
          <ac:spMkLst>
            <pc:docMk/>
            <pc:sldMk cId="0" sldId="275"/>
            <ac:spMk id="1244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4:55.828" v="76845"/>
          <ac:spMkLst>
            <pc:docMk/>
            <pc:sldMk cId="0" sldId="275"/>
            <ac:spMk id="12448" creationId="{62062781-DB68-6712-9D35-9AE0E91B511D}"/>
          </ac:spMkLst>
        </pc:spChg>
        <pc:spChg chg="add del mod modVis">
          <ac:chgData name="vonWaldow, Ulrich" userId="c64b3fe1-2fbf-4408-adc4-30add62e991f" providerId="ADAL" clId="{B99A90B8-7D29-4456-AFD4-0F3DBA13A596}" dt="2024-08-27T12:34:57.331" v="77264"/>
          <ac:spMkLst>
            <pc:docMk/>
            <pc:sldMk cId="0" sldId="275"/>
            <ac:spMk id="12450" creationId="{244AF750-CFCD-E231-0E13-F85FC004A004}"/>
          </ac:spMkLst>
        </pc:spChg>
        <pc:spChg chg="add del mod replST">
          <ac:chgData name="vonWaldow, Ulrich" userId="c64b3fe1-2fbf-4408-adc4-30add62e991f" providerId="ADAL" clId="{B99A90B8-7D29-4456-AFD4-0F3DBA13A596}" dt="2024-08-27T12:35:00.987" v="77309"/>
          <ac:spMkLst>
            <pc:docMk/>
            <pc:sldMk cId="0" sldId="275"/>
            <ac:spMk id="1245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00.987" v="77306"/>
          <ac:spMkLst>
            <pc:docMk/>
            <pc:sldMk cId="0" sldId="275"/>
            <ac:spMk id="1245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01.113" v="77535"/>
          <ac:spMkLst>
            <pc:docMk/>
            <pc:sldMk cId="0" sldId="275"/>
            <ac:spMk id="12456" creationId="{1C11BB0C-A0EB-D241-B7F9-0353C00BEB2C}"/>
          </ac:spMkLst>
        </pc:spChg>
        <pc:spChg chg="add del mod modVis">
          <ac:chgData name="vonWaldow, Ulrich" userId="c64b3fe1-2fbf-4408-adc4-30add62e991f" providerId="ADAL" clId="{B99A90B8-7D29-4456-AFD4-0F3DBA13A596}" dt="2024-08-27T12:35:09.988" v="77800"/>
          <ac:spMkLst>
            <pc:docMk/>
            <pc:sldMk cId="0" sldId="275"/>
            <ac:spMk id="12458" creationId="{D2A48E70-B9EE-4E22-1F9A-2FC5DEA21F35}"/>
          </ac:spMkLst>
        </pc:spChg>
        <pc:spChg chg="add del mod modVis">
          <ac:chgData name="vonWaldow, Ulrich" userId="c64b3fe1-2fbf-4408-adc4-30add62e991f" providerId="ADAL" clId="{B99A90B8-7D29-4456-AFD4-0F3DBA13A596}" dt="2024-08-27T12:35:11.240" v="78145"/>
          <ac:spMkLst>
            <pc:docMk/>
            <pc:sldMk cId="0" sldId="275"/>
            <ac:spMk id="12460" creationId="{DF3FA07B-0949-9FA2-8D18-E4FD5006666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60"/>
          <ac:spMkLst>
            <pc:docMk/>
            <pc:sldMk cId="0" sldId="275"/>
            <ac:spMk id="1246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12.262" v="78498"/>
          <ac:spMkLst>
            <pc:docMk/>
            <pc:sldMk cId="0" sldId="275"/>
            <ac:spMk id="12464" creationId="{812A827F-0DC6-D170-4538-804D93027332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63"/>
          <ac:spMkLst>
            <pc:docMk/>
            <pc:sldMk cId="0" sldId="275"/>
            <ac:spMk id="1246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14.314" v="79023"/>
          <ac:spMkLst>
            <pc:docMk/>
            <pc:sldMk cId="0" sldId="275"/>
            <ac:spMk id="12468" creationId="{8F3DD779-A017-82E7-21D0-E1FCD259D64C}"/>
          </ac:spMkLst>
        </pc:spChg>
        <pc:spChg chg="add del mod replST">
          <ac:chgData name="vonWaldow, Ulrich" userId="c64b3fe1-2fbf-4408-adc4-30add62e991f" providerId="ADAL" clId="{B99A90B8-7D29-4456-AFD4-0F3DBA13A596}" dt="2024-08-27T12:35:42.362" v="79267"/>
          <ac:spMkLst>
            <pc:docMk/>
            <pc:sldMk cId="0" sldId="275"/>
            <ac:spMk id="124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61"/>
          <ac:spMkLst>
            <pc:docMk/>
            <pc:sldMk cId="0" sldId="275"/>
            <ac:spMk id="124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5"/>
          <ac:spMkLst>
            <pc:docMk/>
            <pc:sldMk cId="0" sldId="275"/>
            <ac:spMk id="124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2"/>
          <ac:spMkLst>
            <pc:docMk/>
            <pc:sldMk cId="0" sldId="275"/>
            <ac:spMk id="1247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36.131" v="79204"/>
          <ac:spMkLst>
            <pc:docMk/>
            <pc:sldMk cId="0" sldId="275"/>
            <ac:spMk id="12478" creationId="{D7C50815-BE94-E148-B89D-CF7AF33531A0}"/>
          </ac:spMkLst>
        </pc:spChg>
        <pc:spChg chg="add del mod modVis">
          <ac:chgData name="vonWaldow, Ulrich" userId="c64b3fe1-2fbf-4408-adc4-30add62e991f" providerId="ADAL" clId="{B99A90B8-7D29-4456-AFD4-0F3DBA13A596}" dt="2024-08-27T12:35:42.445" v="79377"/>
          <ac:spMkLst>
            <pc:docMk/>
            <pc:sldMk cId="0" sldId="275"/>
            <ac:spMk id="12480" creationId="{53D863DA-35EF-F82B-3C63-25F14C882B2B}"/>
          </ac:spMkLst>
        </pc:spChg>
        <pc:spChg chg="add del mod modVis">
          <ac:chgData name="vonWaldow, Ulrich" userId="c64b3fe1-2fbf-4408-adc4-30add62e991f" providerId="ADAL" clId="{B99A90B8-7D29-4456-AFD4-0F3DBA13A596}" dt="2024-08-27T12:35:48.900" v="79522"/>
          <ac:spMkLst>
            <pc:docMk/>
            <pc:sldMk cId="0" sldId="275"/>
            <ac:spMk id="12482" creationId="{E91374D0-1FC1-97D2-8061-9DD860F94959}"/>
          </ac:spMkLst>
        </pc:spChg>
        <pc:spChg chg="add del mod modVis">
          <ac:chgData name="vonWaldow, Ulrich" userId="c64b3fe1-2fbf-4408-adc4-30add62e991f" providerId="ADAL" clId="{B99A90B8-7D29-4456-AFD4-0F3DBA13A596}" dt="2024-08-27T12:35:52.326" v="79659"/>
          <ac:spMkLst>
            <pc:docMk/>
            <pc:sldMk cId="0" sldId="275"/>
            <ac:spMk id="12484" creationId="{C283E535-B508-F90D-EF05-DE630250239F}"/>
          </ac:spMkLst>
        </pc:spChg>
        <pc:spChg chg="add del mod modVis">
          <ac:chgData name="vonWaldow, Ulrich" userId="c64b3fe1-2fbf-4408-adc4-30add62e991f" providerId="ADAL" clId="{B99A90B8-7D29-4456-AFD4-0F3DBA13A596}" dt="2024-08-27T12:35:57.045" v="79766"/>
          <ac:spMkLst>
            <pc:docMk/>
            <pc:sldMk cId="0" sldId="275"/>
            <ac:spMk id="12486" creationId="{60E949FB-2FB3-1EA8-E411-5992E92E7CE1}"/>
          </ac:spMkLst>
        </pc:spChg>
        <pc:spChg chg="add del mod modVis">
          <ac:chgData name="vonWaldow, Ulrich" userId="c64b3fe1-2fbf-4408-adc4-30add62e991f" providerId="ADAL" clId="{B99A90B8-7D29-4456-AFD4-0F3DBA13A596}" dt="2024-08-27T12:36:22.945" v="79883"/>
          <ac:spMkLst>
            <pc:docMk/>
            <pc:sldMk cId="0" sldId="275"/>
            <ac:spMk id="12488" creationId="{A39EC058-771B-7D8D-D4D2-9696380FC760}"/>
          </ac:spMkLst>
        </pc:spChg>
        <pc:spChg chg="add del mod modVis">
          <ac:chgData name="vonWaldow, Ulrich" userId="c64b3fe1-2fbf-4408-adc4-30add62e991f" providerId="ADAL" clId="{B99A90B8-7D29-4456-AFD4-0F3DBA13A596}" dt="2024-08-27T12:36:23.825" v="79990"/>
          <ac:spMkLst>
            <pc:docMk/>
            <pc:sldMk cId="0" sldId="275"/>
            <ac:spMk id="12490" creationId="{A6F9D5EE-2922-90DF-3728-D48D063B1038}"/>
          </ac:spMkLst>
        </pc:spChg>
        <pc:spChg chg="add del mod modVis">
          <ac:chgData name="vonWaldow, Ulrich" userId="c64b3fe1-2fbf-4408-adc4-30add62e991f" providerId="ADAL" clId="{B99A90B8-7D29-4456-AFD4-0F3DBA13A596}" dt="2024-08-27T12:36:28.012" v="80097"/>
          <ac:spMkLst>
            <pc:docMk/>
            <pc:sldMk cId="0" sldId="275"/>
            <ac:spMk id="12492" creationId="{E676F45B-6A02-0B68-6E00-834F25FFBE63}"/>
          </ac:spMkLst>
        </pc:spChg>
        <pc:spChg chg="add del mod modVis">
          <ac:chgData name="vonWaldow, Ulrich" userId="c64b3fe1-2fbf-4408-adc4-30add62e991f" providerId="ADAL" clId="{B99A90B8-7D29-4456-AFD4-0F3DBA13A596}" dt="2024-08-27T12:36:56.168" v="80206"/>
          <ac:spMkLst>
            <pc:docMk/>
            <pc:sldMk cId="0" sldId="275"/>
            <ac:spMk id="12494" creationId="{F7CDE3B7-8F29-9BB6-7648-89FC34164C1C}"/>
          </ac:spMkLst>
        </pc:spChg>
        <pc:spChg chg="add del mod modVis">
          <ac:chgData name="vonWaldow, Ulrich" userId="c64b3fe1-2fbf-4408-adc4-30add62e991f" providerId="ADAL" clId="{B99A90B8-7D29-4456-AFD4-0F3DBA13A596}" dt="2024-08-27T12:36:56.691" v="80313"/>
          <ac:spMkLst>
            <pc:docMk/>
            <pc:sldMk cId="0" sldId="275"/>
            <ac:spMk id="12496" creationId="{EA31A7FE-98CB-56FB-B196-A9CA821BE886}"/>
          </ac:spMkLst>
        </pc:spChg>
        <pc:spChg chg="add del mod modVis">
          <ac:chgData name="vonWaldow, Ulrich" userId="c64b3fe1-2fbf-4408-adc4-30add62e991f" providerId="ADAL" clId="{B99A90B8-7D29-4456-AFD4-0F3DBA13A596}" dt="2024-08-27T12:37:12.524" v="80420"/>
          <ac:spMkLst>
            <pc:docMk/>
            <pc:sldMk cId="0" sldId="275"/>
            <ac:spMk id="12498" creationId="{66CA698F-1CB1-26E4-87A2-65DF2ABEC190}"/>
          </ac:spMkLst>
        </pc:spChg>
        <pc:spChg chg="add del mod modVis">
          <ac:chgData name="vonWaldow, Ulrich" userId="c64b3fe1-2fbf-4408-adc4-30add62e991f" providerId="ADAL" clId="{B99A90B8-7D29-4456-AFD4-0F3DBA13A596}" dt="2024-08-27T12:37:16.943" v="80527"/>
          <ac:spMkLst>
            <pc:docMk/>
            <pc:sldMk cId="0" sldId="275"/>
            <ac:spMk id="12500" creationId="{ADFB3802-82E3-1346-6EC7-7527AC335646}"/>
          </ac:spMkLst>
        </pc:spChg>
        <pc:spChg chg="add del mod modVis">
          <ac:chgData name="vonWaldow, Ulrich" userId="c64b3fe1-2fbf-4408-adc4-30add62e991f" providerId="ADAL" clId="{B99A90B8-7D29-4456-AFD4-0F3DBA13A596}" dt="2024-08-27T12:37:25.298" v="80634"/>
          <ac:spMkLst>
            <pc:docMk/>
            <pc:sldMk cId="0" sldId="275"/>
            <ac:spMk id="12502" creationId="{B7EDE1F1-6FE7-E3D8-1C45-D672AB51E1EB}"/>
          </ac:spMkLst>
        </pc:spChg>
        <pc:spChg chg="add del mod modVis">
          <ac:chgData name="vonWaldow, Ulrich" userId="c64b3fe1-2fbf-4408-adc4-30add62e991f" providerId="ADAL" clId="{B99A90B8-7D29-4456-AFD4-0F3DBA13A596}" dt="2024-08-27T12:37:30.138" v="80741"/>
          <ac:spMkLst>
            <pc:docMk/>
            <pc:sldMk cId="0" sldId="275"/>
            <ac:spMk id="12504" creationId="{C3542DD4-E851-BE1B-001D-1E387E79FD5A}"/>
          </ac:spMkLst>
        </pc:spChg>
        <pc:spChg chg="add del mod modVis">
          <ac:chgData name="vonWaldow, Ulrich" userId="c64b3fe1-2fbf-4408-adc4-30add62e991f" providerId="ADAL" clId="{B99A90B8-7D29-4456-AFD4-0F3DBA13A596}" dt="2024-08-27T12:37:45.492" v="80848"/>
          <ac:spMkLst>
            <pc:docMk/>
            <pc:sldMk cId="0" sldId="275"/>
            <ac:spMk id="12506" creationId="{0E3E2A59-8063-0B30-4330-B3FEDE776AD8}"/>
          </ac:spMkLst>
        </pc:spChg>
        <pc:spChg chg="add del mod modVis">
          <ac:chgData name="vonWaldow, Ulrich" userId="c64b3fe1-2fbf-4408-adc4-30add62e991f" providerId="ADAL" clId="{B99A90B8-7D29-4456-AFD4-0F3DBA13A596}" dt="2024-08-27T12:37:52.425" v="80975"/>
          <ac:spMkLst>
            <pc:docMk/>
            <pc:sldMk cId="0" sldId="275"/>
            <ac:spMk id="12508" creationId="{ABAF5A87-2703-8248-5A63-8A9FCCD24026}"/>
          </ac:spMkLst>
        </pc:spChg>
        <pc:spChg chg="add del mod replST">
          <ac:chgData name="vonWaldow, Ulrich" userId="c64b3fe1-2fbf-4408-adc4-30add62e991f" providerId="ADAL" clId="{B99A90B8-7D29-4456-AFD4-0F3DBA13A596}" dt="2024-08-27T12:38:20.624" v="82153"/>
          <ac:spMkLst>
            <pc:docMk/>
            <pc:sldMk cId="0" sldId="275"/>
            <ac:spMk id="12510" creationId="{5E2FC612-9551-9B29-F5E3-F23BAA786634}"/>
          </ac:spMkLst>
        </pc:spChg>
        <pc:spChg chg="add del mod modVis">
          <ac:chgData name="vonWaldow, Ulrich" userId="c64b3fe1-2fbf-4408-adc4-30add62e991f" providerId="ADAL" clId="{B99A90B8-7D29-4456-AFD4-0F3DBA13A596}" dt="2024-08-27T12:38:02.187" v="81131"/>
          <ac:spMkLst>
            <pc:docMk/>
            <pc:sldMk cId="0" sldId="275"/>
            <ac:spMk id="12511" creationId="{F4131A38-A04B-5EFF-4257-8D6387BD7439}"/>
          </ac:spMkLst>
        </pc:spChg>
        <pc:spChg chg="add del mod ord replST">
          <ac:chgData name="vonWaldow, Ulrich" userId="c64b3fe1-2fbf-4408-adc4-30add62e991f" providerId="ADAL" clId="{B99A90B8-7D29-4456-AFD4-0F3DBA13A596}" dt="2024-08-27T12:38:20.624" v="82152"/>
          <ac:spMkLst>
            <pc:docMk/>
            <pc:sldMk cId="0" sldId="275"/>
            <ac:spMk id="12513" creationId="{7186FF1A-C51E-4C50-0F90-3BA57499ED1F}"/>
          </ac:spMkLst>
        </pc:spChg>
        <pc:spChg chg="add del mod modVis">
          <ac:chgData name="vonWaldow, Ulrich" userId="c64b3fe1-2fbf-4408-adc4-30add62e991f" providerId="ADAL" clId="{B99A90B8-7D29-4456-AFD4-0F3DBA13A596}" dt="2024-08-27T12:38:03.667" v="81244"/>
          <ac:spMkLst>
            <pc:docMk/>
            <pc:sldMk cId="0" sldId="275"/>
            <ac:spMk id="12514" creationId="{3B3F89F0-F109-BD80-D8F8-14DD2672333B}"/>
          </ac:spMkLst>
        </pc:spChg>
        <pc:spChg chg="add del mod modVis">
          <ac:chgData name="vonWaldow, Ulrich" userId="c64b3fe1-2fbf-4408-adc4-30add62e991f" providerId="ADAL" clId="{B99A90B8-7D29-4456-AFD4-0F3DBA13A596}" dt="2024-08-27T12:38:05.887" v="81357"/>
          <ac:spMkLst>
            <pc:docMk/>
            <pc:sldMk cId="0" sldId="275"/>
            <ac:spMk id="12516" creationId="{3E55BE8D-6B29-EA19-E9DC-A4565BD38213}"/>
          </ac:spMkLst>
        </pc:spChg>
        <pc:spChg chg="add del mod modVis">
          <ac:chgData name="vonWaldow, Ulrich" userId="c64b3fe1-2fbf-4408-adc4-30add62e991f" providerId="ADAL" clId="{B99A90B8-7D29-4456-AFD4-0F3DBA13A596}" dt="2024-08-27T12:38:08.330" v="81470"/>
          <ac:spMkLst>
            <pc:docMk/>
            <pc:sldMk cId="0" sldId="275"/>
            <ac:spMk id="12518" creationId="{5343B9CF-A964-FDC6-AE92-32CEE86B00A0}"/>
          </ac:spMkLst>
        </pc:spChg>
        <pc:spChg chg="add del mod modVis">
          <ac:chgData name="vonWaldow, Ulrich" userId="c64b3fe1-2fbf-4408-adc4-30add62e991f" providerId="ADAL" clId="{B99A90B8-7D29-4456-AFD4-0F3DBA13A596}" dt="2024-08-27T12:38:10.441" v="81583"/>
          <ac:spMkLst>
            <pc:docMk/>
            <pc:sldMk cId="0" sldId="275"/>
            <ac:spMk id="12520" creationId="{CABF1387-893C-946F-7624-B3F778AD9A6A}"/>
          </ac:spMkLst>
        </pc:spChg>
        <pc:spChg chg="add del mod modVis">
          <ac:chgData name="vonWaldow, Ulrich" userId="c64b3fe1-2fbf-4408-adc4-30add62e991f" providerId="ADAL" clId="{B99A90B8-7D29-4456-AFD4-0F3DBA13A596}" dt="2024-08-27T12:38:11.659" v="81696"/>
          <ac:spMkLst>
            <pc:docMk/>
            <pc:sldMk cId="0" sldId="275"/>
            <ac:spMk id="12522" creationId="{BF0A216A-E076-E0FE-D344-B7E3BA120235}"/>
          </ac:spMkLst>
        </pc:spChg>
        <pc:spChg chg="add del mod modVis">
          <ac:chgData name="vonWaldow, Ulrich" userId="c64b3fe1-2fbf-4408-adc4-30add62e991f" providerId="ADAL" clId="{B99A90B8-7D29-4456-AFD4-0F3DBA13A596}" dt="2024-08-27T12:38:12.891" v="81809"/>
          <ac:spMkLst>
            <pc:docMk/>
            <pc:sldMk cId="0" sldId="275"/>
            <ac:spMk id="12524" creationId="{98DFE317-0D2F-91D8-004E-AAD2D879A67D}"/>
          </ac:spMkLst>
        </pc:spChg>
        <pc:spChg chg="add del mod modVis">
          <ac:chgData name="vonWaldow, Ulrich" userId="c64b3fe1-2fbf-4408-adc4-30add62e991f" providerId="ADAL" clId="{B99A90B8-7D29-4456-AFD4-0F3DBA13A596}" dt="2024-08-27T12:38:13.922" v="81922"/>
          <ac:spMkLst>
            <pc:docMk/>
            <pc:sldMk cId="0" sldId="275"/>
            <ac:spMk id="12526" creationId="{013F39CB-29FF-6ED6-9472-C7869436F425}"/>
          </ac:spMkLst>
        </pc:spChg>
        <pc:spChg chg="add del mod modVis">
          <ac:chgData name="vonWaldow, Ulrich" userId="c64b3fe1-2fbf-4408-adc4-30add62e991f" providerId="ADAL" clId="{B99A90B8-7D29-4456-AFD4-0F3DBA13A596}" dt="2024-08-27T12:38:15.349" v="82035"/>
          <ac:spMkLst>
            <pc:docMk/>
            <pc:sldMk cId="0" sldId="275"/>
            <ac:spMk id="12528" creationId="{4C9835CF-7B33-A5C6-4382-B9735404704E}"/>
          </ac:spMkLst>
        </pc:spChg>
        <pc:spChg chg="add del mod modVis">
          <ac:chgData name="vonWaldow, Ulrich" userId="c64b3fe1-2fbf-4408-adc4-30add62e991f" providerId="ADAL" clId="{B99A90B8-7D29-4456-AFD4-0F3DBA13A596}" dt="2024-08-27T12:38:17.004" v="82148"/>
          <ac:spMkLst>
            <pc:docMk/>
            <pc:sldMk cId="0" sldId="275"/>
            <ac:spMk id="12530" creationId="{C2958991-133E-E8D3-408F-21F78080F939}"/>
          </ac:spMkLst>
        </pc:spChg>
        <pc:spChg chg="add del mod modVis">
          <ac:chgData name="vonWaldow, Ulrich" userId="c64b3fe1-2fbf-4408-adc4-30add62e991f" providerId="ADAL" clId="{B99A90B8-7D29-4456-AFD4-0F3DBA13A596}" dt="2024-08-27T12:38:20.798" v="82274"/>
          <ac:spMkLst>
            <pc:docMk/>
            <pc:sldMk cId="0" sldId="275"/>
            <ac:spMk id="12532" creationId="{D4F67972-9E73-19C5-5AF1-F8D4BC71826F}"/>
          </ac:spMkLst>
        </pc:spChg>
        <pc:spChg chg="add del mod modVis">
          <ac:chgData name="vonWaldow, Ulrich" userId="c64b3fe1-2fbf-4408-adc4-30add62e991f" providerId="ADAL" clId="{B99A90B8-7D29-4456-AFD4-0F3DBA13A596}" dt="2024-08-27T12:38:38.380" v="82385"/>
          <ac:spMkLst>
            <pc:docMk/>
            <pc:sldMk cId="0" sldId="275"/>
            <ac:spMk id="12534" creationId="{2FA30FBC-8790-C4A4-E1F1-56D61036DEE7}"/>
          </ac:spMkLst>
        </pc:spChg>
        <pc:spChg chg="add del mod modVis">
          <ac:chgData name="vonWaldow, Ulrich" userId="c64b3fe1-2fbf-4408-adc4-30add62e991f" providerId="ADAL" clId="{B99A90B8-7D29-4456-AFD4-0F3DBA13A596}" dt="2024-08-27T12:38:40.015" v="82518"/>
          <ac:spMkLst>
            <pc:docMk/>
            <pc:sldMk cId="0" sldId="275"/>
            <ac:spMk id="12536" creationId="{298DFB66-2BEF-B805-28E4-319CC216F7F1}"/>
          </ac:spMkLst>
        </pc:spChg>
        <pc:spChg chg="add del mod modVis">
          <ac:chgData name="vonWaldow, Ulrich" userId="c64b3fe1-2fbf-4408-adc4-30add62e991f" providerId="ADAL" clId="{B99A90B8-7D29-4456-AFD4-0F3DBA13A596}" dt="2024-08-27T12:38:41.016" v="82627"/>
          <ac:spMkLst>
            <pc:docMk/>
            <pc:sldMk cId="0" sldId="275"/>
            <ac:spMk id="12538" creationId="{EAF9BC8C-1E2E-B897-C79B-556B7E749AF1}"/>
          </ac:spMkLst>
        </pc:spChg>
        <pc:spChg chg="add del mod modVis">
          <ac:chgData name="vonWaldow, Ulrich" userId="c64b3fe1-2fbf-4408-adc4-30add62e991f" providerId="ADAL" clId="{B99A90B8-7D29-4456-AFD4-0F3DBA13A596}" dt="2024-08-27T12:38:43.463" v="82738"/>
          <ac:spMkLst>
            <pc:docMk/>
            <pc:sldMk cId="0" sldId="275"/>
            <ac:spMk id="12540" creationId="{941151EA-1DD4-3B66-FB03-F0D329A4BD17}"/>
          </ac:spMkLst>
        </pc:spChg>
        <pc:spChg chg="add del mod modVis">
          <ac:chgData name="vonWaldow, Ulrich" userId="c64b3fe1-2fbf-4408-adc4-30add62e991f" providerId="ADAL" clId="{B99A90B8-7D29-4456-AFD4-0F3DBA13A596}" dt="2024-08-27T12:38:44.552" v="82867"/>
          <ac:spMkLst>
            <pc:docMk/>
            <pc:sldMk cId="0" sldId="275"/>
            <ac:spMk id="12542" creationId="{1E4B533C-250E-7273-3051-29DA41789DD3}"/>
          </ac:spMkLst>
        </pc:spChg>
        <pc:spChg chg="add del mod modVis">
          <ac:chgData name="vonWaldow, Ulrich" userId="c64b3fe1-2fbf-4408-adc4-30add62e991f" providerId="ADAL" clId="{B99A90B8-7D29-4456-AFD4-0F3DBA13A596}" dt="2024-08-27T12:38:51.447" v="82964"/>
          <ac:spMkLst>
            <pc:docMk/>
            <pc:sldMk cId="0" sldId="275"/>
            <ac:spMk id="12544" creationId="{2DEB90A5-68CD-B05F-F414-63D3714F45A5}"/>
          </ac:spMkLst>
        </pc:spChg>
        <pc:spChg chg="add del mod modVis">
          <ac:chgData name="vonWaldow, Ulrich" userId="c64b3fe1-2fbf-4408-adc4-30add62e991f" providerId="ADAL" clId="{B99A90B8-7D29-4456-AFD4-0F3DBA13A596}" dt="2024-08-27T12:38:57.598" v="83818"/>
          <ac:spMkLst>
            <pc:docMk/>
            <pc:sldMk cId="0" sldId="275"/>
            <ac:spMk id="12546" creationId="{240B3FC5-EA43-8DD1-5F92-02278AD2A441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5"/>
          <ac:spMkLst>
            <pc:docMk/>
            <pc:sldMk cId="0" sldId="275"/>
            <ac:spMk id="1254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6"/>
          <ac:spMkLst>
            <pc:docMk/>
            <pc:sldMk cId="0" sldId="275"/>
            <ac:spMk id="1254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7"/>
          <ac:spMkLst>
            <pc:docMk/>
            <pc:sldMk cId="0" sldId="275"/>
            <ac:spMk id="1254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8"/>
          <ac:spMkLst>
            <pc:docMk/>
            <pc:sldMk cId="0" sldId="275"/>
            <ac:spMk id="1255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9"/>
          <ac:spMkLst>
            <pc:docMk/>
            <pc:sldMk cId="0" sldId="275"/>
            <ac:spMk id="1255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0"/>
          <ac:spMkLst>
            <pc:docMk/>
            <pc:sldMk cId="0" sldId="275"/>
            <ac:spMk id="1255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1"/>
          <ac:spMkLst>
            <pc:docMk/>
            <pc:sldMk cId="0" sldId="275"/>
            <ac:spMk id="1255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2"/>
          <ac:spMkLst>
            <pc:docMk/>
            <pc:sldMk cId="0" sldId="275"/>
            <ac:spMk id="1255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3"/>
          <ac:spMkLst>
            <pc:docMk/>
            <pc:sldMk cId="0" sldId="275"/>
            <ac:spMk id="1255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4"/>
          <ac:spMkLst>
            <pc:docMk/>
            <pc:sldMk cId="0" sldId="275"/>
            <ac:spMk id="1255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2" v="83885"/>
          <ac:spMkLst>
            <pc:docMk/>
            <pc:sldMk cId="0" sldId="275"/>
            <ac:spMk id="1255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3" v="83886"/>
          <ac:spMkLst>
            <pc:docMk/>
            <pc:sldMk cId="0" sldId="275"/>
            <ac:spMk id="1255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3" v="83887"/>
          <ac:spMkLst>
            <pc:docMk/>
            <pc:sldMk cId="0" sldId="275"/>
            <ac:spMk id="1255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8:58.767" v="83939"/>
          <ac:spMkLst>
            <pc:docMk/>
            <pc:sldMk cId="0" sldId="275"/>
            <ac:spMk id="12561" creationId="{FAD2D6FB-85AA-4A07-8EEC-EA0AFEA26292}"/>
          </ac:spMkLst>
        </pc:spChg>
        <pc:spChg chg="add del mod modVis">
          <ac:chgData name="vonWaldow, Ulrich" userId="c64b3fe1-2fbf-4408-adc4-30add62e991f" providerId="ADAL" clId="{B99A90B8-7D29-4456-AFD4-0F3DBA13A596}" dt="2024-08-27T12:39:06.783" v="84064"/>
          <ac:spMkLst>
            <pc:docMk/>
            <pc:sldMk cId="0" sldId="275"/>
            <ac:spMk id="12563" creationId="{CD295185-1AD7-83C7-90D9-E6E5DDC83553}"/>
          </ac:spMkLst>
        </pc:spChg>
        <pc:spChg chg="add del mod modVis">
          <ac:chgData name="vonWaldow, Ulrich" userId="c64b3fe1-2fbf-4408-adc4-30add62e991f" providerId="ADAL" clId="{B99A90B8-7D29-4456-AFD4-0F3DBA13A596}" dt="2024-08-27T12:39:10.532" v="84918"/>
          <ac:spMkLst>
            <pc:docMk/>
            <pc:sldMk cId="0" sldId="275"/>
            <ac:spMk id="12565" creationId="{BF7F962F-407D-0C5F-3813-60B51EDD6231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5"/>
          <ac:spMkLst>
            <pc:docMk/>
            <pc:sldMk cId="0" sldId="275"/>
            <ac:spMk id="1256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6"/>
          <ac:spMkLst>
            <pc:docMk/>
            <pc:sldMk cId="0" sldId="275"/>
            <ac:spMk id="1256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7"/>
          <ac:spMkLst>
            <pc:docMk/>
            <pc:sldMk cId="0" sldId="275"/>
            <ac:spMk id="125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8"/>
          <ac:spMkLst>
            <pc:docMk/>
            <pc:sldMk cId="0" sldId="275"/>
            <ac:spMk id="125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9"/>
          <ac:spMkLst>
            <pc:docMk/>
            <pc:sldMk cId="0" sldId="275"/>
            <ac:spMk id="125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0"/>
          <ac:spMkLst>
            <pc:docMk/>
            <pc:sldMk cId="0" sldId="275"/>
            <ac:spMk id="125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1"/>
          <ac:spMkLst>
            <pc:docMk/>
            <pc:sldMk cId="0" sldId="275"/>
            <ac:spMk id="1257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2"/>
          <ac:spMkLst>
            <pc:docMk/>
            <pc:sldMk cId="0" sldId="275"/>
            <ac:spMk id="1257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3"/>
          <ac:spMkLst>
            <pc:docMk/>
            <pc:sldMk cId="0" sldId="275"/>
            <ac:spMk id="1257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4"/>
          <ac:spMkLst>
            <pc:docMk/>
            <pc:sldMk cId="0" sldId="275"/>
            <ac:spMk id="1257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5"/>
          <ac:spMkLst>
            <pc:docMk/>
            <pc:sldMk cId="0" sldId="275"/>
            <ac:spMk id="1257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6"/>
          <ac:spMkLst>
            <pc:docMk/>
            <pc:sldMk cId="0" sldId="275"/>
            <ac:spMk id="1257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7"/>
          <ac:spMkLst>
            <pc:docMk/>
            <pc:sldMk cId="0" sldId="275"/>
            <ac:spMk id="12578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9:11.472" v="85039"/>
          <ac:spMkLst>
            <pc:docMk/>
            <pc:sldMk cId="0" sldId="275"/>
            <ac:spMk id="12580" creationId="{9FCF815F-6ACB-D6A0-67E6-6CFBD8F9ADAB}"/>
          </ac:spMkLst>
        </pc:spChg>
        <pc:spChg chg="add del mod modVis">
          <ac:chgData name="vonWaldow, Ulrich" userId="c64b3fe1-2fbf-4408-adc4-30add62e991f" providerId="ADAL" clId="{B99A90B8-7D29-4456-AFD4-0F3DBA13A596}" dt="2024-08-27T12:39:18.536" v="85893"/>
          <ac:spMkLst>
            <pc:docMk/>
            <pc:sldMk cId="0" sldId="275"/>
            <ac:spMk id="12582" creationId="{5FDABF44-3E4C-1C08-A8C9-AC868E05C12B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0"/>
          <ac:spMkLst>
            <pc:docMk/>
            <pc:sldMk cId="0" sldId="275"/>
            <ac:spMk id="1258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1"/>
          <ac:spMkLst>
            <pc:docMk/>
            <pc:sldMk cId="0" sldId="275"/>
            <ac:spMk id="1258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2"/>
          <ac:spMkLst>
            <pc:docMk/>
            <pc:sldMk cId="0" sldId="275"/>
            <ac:spMk id="1258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3"/>
          <ac:spMkLst>
            <pc:docMk/>
            <pc:sldMk cId="0" sldId="275"/>
            <ac:spMk id="1258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4"/>
          <ac:spMkLst>
            <pc:docMk/>
            <pc:sldMk cId="0" sldId="275"/>
            <ac:spMk id="1258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5"/>
          <ac:spMkLst>
            <pc:docMk/>
            <pc:sldMk cId="0" sldId="275"/>
            <ac:spMk id="1258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6"/>
          <ac:spMkLst>
            <pc:docMk/>
            <pc:sldMk cId="0" sldId="275"/>
            <ac:spMk id="1258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7"/>
          <ac:spMkLst>
            <pc:docMk/>
            <pc:sldMk cId="0" sldId="275"/>
            <ac:spMk id="1259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8"/>
          <ac:spMkLst>
            <pc:docMk/>
            <pc:sldMk cId="0" sldId="275"/>
            <ac:spMk id="1259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9"/>
          <ac:spMkLst>
            <pc:docMk/>
            <pc:sldMk cId="0" sldId="275"/>
            <ac:spMk id="125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60"/>
          <ac:spMkLst>
            <pc:docMk/>
            <pc:sldMk cId="0" sldId="275"/>
            <ac:spMk id="125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61"/>
          <ac:spMkLst>
            <pc:docMk/>
            <pc:sldMk cId="0" sldId="275"/>
            <ac:spMk id="125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48" v="85962"/>
          <ac:spMkLst>
            <pc:docMk/>
            <pc:sldMk cId="0" sldId="275"/>
            <ac:spMk id="1259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9:19.411" v="86014"/>
          <ac:spMkLst>
            <pc:docMk/>
            <pc:sldMk cId="0" sldId="275"/>
            <ac:spMk id="12597" creationId="{B059D8B9-1C35-CB81-B7A5-6CA79CF69CC9}"/>
          </ac:spMkLst>
        </pc:spChg>
        <pc:spChg chg="add del mod modVis">
          <ac:chgData name="vonWaldow, Ulrich" userId="c64b3fe1-2fbf-4408-adc4-30add62e991f" providerId="ADAL" clId="{B99A90B8-7D29-4456-AFD4-0F3DBA13A596}" dt="2024-08-27T12:39:21.660" v="86151"/>
          <ac:spMkLst>
            <pc:docMk/>
            <pc:sldMk cId="0" sldId="275"/>
            <ac:spMk id="12599" creationId="{8D06E9E1-CB75-3800-334E-0FB0987FBC02}"/>
          </ac:spMkLst>
        </pc:spChg>
        <pc:spChg chg="add del mod modVis">
          <ac:chgData name="vonWaldow, Ulrich" userId="c64b3fe1-2fbf-4408-adc4-30add62e991f" providerId="ADAL" clId="{B99A90B8-7D29-4456-AFD4-0F3DBA13A596}" dt="2024-08-27T12:39:25.890" v="86254"/>
          <ac:spMkLst>
            <pc:docMk/>
            <pc:sldMk cId="0" sldId="275"/>
            <ac:spMk id="12601" creationId="{3D094A0E-809D-3448-DBE6-047DB687B6E3}"/>
          </ac:spMkLst>
        </pc:spChg>
        <pc:spChg chg="add del mod modVis">
          <ac:chgData name="vonWaldow, Ulrich" userId="c64b3fe1-2fbf-4408-adc4-30add62e991f" providerId="ADAL" clId="{B99A90B8-7D29-4456-AFD4-0F3DBA13A596}" dt="2024-08-27T12:39:32.357" v="86397"/>
          <ac:spMkLst>
            <pc:docMk/>
            <pc:sldMk cId="0" sldId="275"/>
            <ac:spMk id="12603" creationId="{D902AE47-3140-F8ED-A62E-D9C463A0C06F}"/>
          </ac:spMkLst>
        </pc:spChg>
        <pc:spChg chg="add del mod modVis">
          <ac:chgData name="vonWaldow, Ulrich" userId="c64b3fe1-2fbf-4408-adc4-30add62e991f" providerId="ADAL" clId="{B99A90B8-7D29-4456-AFD4-0F3DBA13A596}" dt="2024-08-27T12:39:48.917" v="86492"/>
          <ac:spMkLst>
            <pc:docMk/>
            <pc:sldMk cId="0" sldId="275"/>
            <ac:spMk id="12605" creationId="{529CC1A7-3176-D12E-4F80-FDD39DE575EE}"/>
          </ac:spMkLst>
        </pc:spChg>
        <pc:spChg chg="add del mod modVis">
          <ac:chgData name="vonWaldow, Ulrich" userId="c64b3fe1-2fbf-4408-adc4-30add62e991f" providerId="ADAL" clId="{B99A90B8-7D29-4456-AFD4-0F3DBA13A596}" dt="2024-08-27T12:39:56.037" v="86608"/>
          <ac:spMkLst>
            <pc:docMk/>
            <pc:sldMk cId="0" sldId="275"/>
            <ac:spMk id="12607" creationId="{F1EA5EE2-6B56-6219-B354-3A791A37D48D}"/>
          </ac:spMkLst>
        </pc:spChg>
        <pc:spChg chg="add del mod modVis">
          <ac:chgData name="vonWaldow, Ulrich" userId="c64b3fe1-2fbf-4408-adc4-30add62e991f" providerId="ADAL" clId="{B99A90B8-7D29-4456-AFD4-0F3DBA13A596}" dt="2024-08-27T12:40:02.339" v="86752"/>
          <ac:spMkLst>
            <pc:docMk/>
            <pc:sldMk cId="0" sldId="275"/>
            <ac:spMk id="12609" creationId="{D60D1730-A610-3BFA-B6AE-A92B4080FA3D}"/>
          </ac:spMkLst>
        </pc:spChg>
        <pc:spChg chg="add del mod ord replST">
          <ac:chgData name="vonWaldow, Ulrich" userId="c64b3fe1-2fbf-4408-adc4-30add62e991f" providerId="ADAL" clId="{B99A90B8-7D29-4456-AFD4-0F3DBA13A596}" dt="2024-08-27T12:41:58.793" v="92368"/>
          <ac:spMkLst>
            <pc:docMk/>
            <pc:sldMk cId="0" sldId="275"/>
            <ac:spMk id="12611" creationId="{30A90F1F-B3AB-3AA6-998D-EE7EA580E488}"/>
          </ac:spMkLst>
        </pc:spChg>
        <pc:spChg chg="add del mod modVis">
          <ac:chgData name="vonWaldow, Ulrich" userId="c64b3fe1-2fbf-4408-adc4-30add62e991f" providerId="ADAL" clId="{B99A90B8-7D29-4456-AFD4-0F3DBA13A596}" dt="2024-08-27T12:40:07.768" v="86887"/>
          <ac:spMkLst>
            <pc:docMk/>
            <pc:sldMk cId="0" sldId="275"/>
            <ac:spMk id="12612" creationId="{CECAED73-E6D1-C6F6-AF76-D50DFE19629E}"/>
          </ac:spMkLst>
        </pc:spChg>
        <pc:spChg chg="add del mod modVis">
          <ac:chgData name="vonWaldow, Ulrich" userId="c64b3fe1-2fbf-4408-adc4-30add62e991f" providerId="ADAL" clId="{B99A90B8-7D29-4456-AFD4-0F3DBA13A596}" dt="2024-08-27T12:40:12.280" v="86985"/>
          <ac:spMkLst>
            <pc:docMk/>
            <pc:sldMk cId="0" sldId="275"/>
            <ac:spMk id="12614" creationId="{D64A6703-5480-FD60-E764-ED3DE7782B1C}"/>
          </ac:spMkLst>
        </pc:spChg>
        <pc:spChg chg="add del mod modVis">
          <ac:chgData name="vonWaldow, Ulrich" userId="c64b3fe1-2fbf-4408-adc4-30add62e991f" providerId="ADAL" clId="{B99A90B8-7D29-4456-AFD4-0F3DBA13A596}" dt="2024-08-27T12:40:14.737" v="87678"/>
          <ac:spMkLst>
            <pc:docMk/>
            <pc:sldMk cId="0" sldId="275"/>
            <ac:spMk id="12616" creationId="{4A06580D-1C1F-7BB5-C489-5F01BEB34223}"/>
          </ac:spMkLst>
        </pc:spChg>
        <pc:spChg chg="add del mod replST">
          <ac:chgData name="vonWaldow, Ulrich" userId="c64b3fe1-2fbf-4408-adc4-30add62e991f" providerId="ADAL" clId="{B99A90B8-7D29-4456-AFD4-0F3DBA13A596}" dt="2024-08-27T12:40:18.019" v="87849"/>
          <ac:spMkLst>
            <pc:docMk/>
            <pc:sldMk cId="0" sldId="275"/>
            <ac:spMk id="1261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0" v="87850"/>
          <ac:spMkLst>
            <pc:docMk/>
            <pc:sldMk cId="0" sldId="275"/>
            <ac:spMk id="1261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1" v="87851"/>
          <ac:spMkLst>
            <pc:docMk/>
            <pc:sldMk cId="0" sldId="275"/>
            <ac:spMk id="126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2" v="87852"/>
          <ac:spMkLst>
            <pc:docMk/>
            <pc:sldMk cId="0" sldId="275"/>
            <ac:spMk id="126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3" v="87853"/>
          <ac:spMkLst>
            <pc:docMk/>
            <pc:sldMk cId="0" sldId="275"/>
            <ac:spMk id="126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3" v="87854"/>
          <ac:spMkLst>
            <pc:docMk/>
            <pc:sldMk cId="0" sldId="275"/>
            <ac:spMk id="126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4" v="87855"/>
          <ac:spMkLst>
            <pc:docMk/>
            <pc:sldMk cId="0" sldId="275"/>
            <ac:spMk id="126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5" v="87856"/>
          <ac:spMkLst>
            <pc:docMk/>
            <pc:sldMk cId="0" sldId="275"/>
            <ac:spMk id="126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5" v="87857"/>
          <ac:spMkLst>
            <pc:docMk/>
            <pc:sldMk cId="0" sldId="275"/>
            <ac:spMk id="126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6" v="87858"/>
          <ac:spMkLst>
            <pc:docMk/>
            <pc:sldMk cId="0" sldId="275"/>
            <ac:spMk id="1262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16.978" v="87795"/>
          <ac:spMkLst>
            <pc:docMk/>
            <pc:sldMk cId="0" sldId="275"/>
            <ac:spMk id="12628" creationId="{7737CB42-02FF-29D9-41EF-29DE30D1A06B}"/>
          </ac:spMkLst>
        </pc:spChg>
        <pc:spChg chg="add del mod modVis">
          <ac:chgData name="vonWaldow, Ulrich" userId="c64b3fe1-2fbf-4408-adc4-30add62e991f" providerId="ADAL" clId="{B99A90B8-7D29-4456-AFD4-0F3DBA13A596}" dt="2024-08-27T12:40:18.095" v="87912"/>
          <ac:spMkLst>
            <pc:docMk/>
            <pc:sldMk cId="0" sldId="275"/>
            <ac:spMk id="12630" creationId="{EF6F6566-F07B-DDD8-7458-E30F189BA8EA}"/>
          </ac:spMkLst>
        </pc:spChg>
        <pc:spChg chg="add del mod modVis">
          <ac:chgData name="vonWaldow, Ulrich" userId="c64b3fe1-2fbf-4408-adc4-30add62e991f" providerId="ADAL" clId="{B99A90B8-7D29-4456-AFD4-0F3DBA13A596}" dt="2024-08-27T12:40:26.177" v="88643"/>
          <ac:spMkLst>
            <pc:docMk/>
            <pc:sldMk cId="0" sldId="275"/>
            <ac:spMk id="12632" creationId="{48E3ADB0-6CFC-542E-5C4D-F3D13BC1BAF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4"/>
          <ac:spMkLst>
            <pc:docMk/>
            <pc:sldMk cId="0" sldId="275"/>
            <ac:spMk id="126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3"/>
          <ac:spMkLst>
            <pc:docMk/>
            <pc:sldMk cId="0" sldId="275"/>
            <ac:spMk id="126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2"/>
          <ac:spMkLst>
            <pc:docMk/>
            <pc:sldMk cId="0" sldId="275"/>
            <ac:spMk id="126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1"/>
          <ac:spMkLst>
            <pc:docMk/>
            <pc:sldMk cId="0" sldId="275"/>
            <ac:spMk id="126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0"/>
          <ac:spMkLst>
            <pc:docMk/>
            <pc:sldMk cId="0" sldId="275"/>
            <ac:spMk id="1263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9"/>
          <ac:spMkLst>
            <pc:docMk/>
            <pc:sldMk cId="0" sldId="275"/>
            <ac:spMk id="126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8"/>
          <ac:spMkLst>
            <pc:docMk/>
            <pc:sldMk cId="0" sldId="275"/>
            <ac:spMk id="1263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7"/>
          <ac:spMkLst>
            <pc:docMk/>
            <pc:sldMk cId="0" sldId="275"/>
            <ac:spMk id="1264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6"/>
          <ac:spMkLst>
            <pc:docMk/>
            <pc:sldMk cId="0" sldId="275"/>
            <ac:spMk id="1264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5"/>
          <ac:spMkLst>
            <pc:docMk/>
            <pc:sldMk cId="0" sldId="275"/>
            <ac:spMk id="1264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29.477" v="88932"/>
          <ac:spMkLst>
            <pc:docMk/>
            <pc:sldMk cId="0" sldId="275"/>
            <ac:spMk id="12644" creationId="{30B75F82-E879-B368-0734-DE171140E5F6}"/>
          </ac:spMkLst>
        </pc:spChg>
        <pc:spChg chg="add del mod modVis">
          <ac:chgData name="vonWaldow, Ulrich" userId="c64b3fe1-2fbf-4408-adc4-30add62e991f" providerId="ADAL" clId="{B99A90B8-7D29-4456-AFD4-0F3DBA13A596}" dt="2024-08-27T12:40:37.047" v="89118"/>
          <ac:spMkLst>
            <pc:docMk/>
            <pc:sldMk cId="0" sldId="275"/>
            <ac:spMk id="12646" creationId="{11C40C0B-2645-251A-FDFC-D701A9584FC2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5"/>
          <ac:spMkLst>
            <pc:docMk/>
            <pc:sldMk cId="0" sldId="275"/>
            <ac:spMk id="1264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51.474" v="89243"/>
          <ac:spMkLst>
            <pc:docMk/>
            <pc:sldMk cId="0" sldId="275"/>
            <ac:spMk id="12649" creationId="{AF1D2A85-8B3D-E3A3-2DD8-15DC511CDB74}"/>
          </ac:spMkLst>
        </pc:spChg>
        <pc:spChg chg="add del mod modVis">
          <ac:chgData name="vonWaldow, Ulrich" userId="c64b3fe1-2fbf-4408-adc4-30add62e991f" providerId="ADAL" clId="{B99A90B8-7D29-4456-AFD4-0F3DBA13A596}" dt="2024-08-27T12:40:53.409" v="89367"/>
          <ac:spMkLst>
            <pc:docMk/>
            <pc:sldMk cId="0" sldId="275"/>
            <ac:spMk id="12651" creationId="{D4C93564-767E-6047-68DF-F30FA5DC0E40}"/>
          </ac:spMkLst>
        </pc:spChg>
        <pc:spChg chg="add del mod modVis">
          <ac:chgData name="vonWaldow, Ulrich" userId="c64b3fe1-2fbf-4408-adc4-30add62e991f" providerId="ADAL" clId="{B99A90B8-7D29-4456-AFD4-0F3DBA13A596}" dt="2024-08-27T12:40:54.380" v="89489"/>
          <ac:spMkLst>
            <pc:docMk/>
            <pc:sldMk cId="0" sldId="275"/>
            <ac:spMk id="12653" creationId="{04D562D5-19B4-80AD-1D53-71B318162506}"/>
          </ac:spMkLst>
        </pc:spChg>
        <pc:spChg chg="add del mod modVis">
          <ac:chgData name="vonWaldow, Ulrich" userId="c64b3fe1-2fbf-4408-adc4-30add62e991f" providerId="ADAL" clId="{B99A90B8-7D29-4456-AFD4-0F3DBA13A596}" dt="2024-08-27T12:40:55.818" v="89612"/>
          <ac:spMkLst>
            <pc:docMk/>
            <pc:sldMk cId="0" sldId="275"/>
            <ac:spMk id="12655" creationId="{41BA5ECF-FD5A-C1E6-5214-85FBB3F4A22A}"/>
          </ac:spMkLst>
        </pc:spChg>
        <pc:spChg chg="add del mod modVis">
          <ac:chgData name="vonWaldow, Ulrich" userId="c64b3fe1-2fbf-4408-adc4-30add62e991f" providerId="ADAL" clId="{B99A90B8-7D29-4456-AFD4-0F3DBA13A596}" dt="2024-08-27T12:40:58.009" v="89733"/>
          <ac:spMkLst>
            <pc:docMk/>
            <pc:sldMk cId="0" sldId="275"/>
            <ac:spMk id="12657" creationId="{0EAC3D99-6F42-4159-DFAF-5AF9EF785271}"/>
          </ac:spMkLst>
        </pc:spChg>
        <pc:spChg chg="add del mod modVis">
          <ac:chgData name="vonWaldow, Ulrich" userId="c64b3fe1-2fbf-4408-adc4-30add62e991f" providerId="ADAL" clId="{B99A90B8-7D29-4456-AFD4-0F3DBA13A596}" dt="2024-08-27T12:40:58.785" v="89854"/>
          <ac:spMkLst>
            <pc:docMk/>
            <pc:sldMk cId="0" sldId="275"/>
            <ac:spMk id="12659" creationId="{364C7C16-95D3-C173-7FC0-5D14321F1A59}"/>
          </ac:spMkLst>
        </pc:spChg>
        <pc:spChg chg="add del mod modVis">
          <ac:chgData name="vonWaldow, Ulrich" userId="c64b3fe1-2fbf-4408-adc4-30add62e991f" providerId="ADAL" clId="{B99A90B8-7D29-4456-AFD4-0F3DBA13A596}" dt="2024-08-27T12:41:00.869" v="89977"/>
          <ac:spMkLst>
            <pc:docMk/>
            <pc:sldMk cId="0" sldId="275"/>
            <ac:spMk id="12661" creationId="{B18C15FD-F4F4-8509-8FF1-7C1342D92940}"/>
          </ac:spMkLst>
        </pc:spChg>
        <pc:spChg chg="add del mod modVis">
          <ac:chgData name="vonWaldow, Ulrich" userId="c64b3fe1-2fbf-4408-adc4-30add62e991f" providerId="ADAL" clId="{B99A90B8-7D29-4456-AFD4-0F3DBA13A596}" dt="2024-08-27T12:41:02.748" v="90101"/>
          <ac:spMkLst>
            <pc:docMk/>
            <pc:sldMk cId="0" sldId="275"/>
            <ac:spMk id="12663" creationId="{95B91EFC-EC82-ABFD-030A-946881AF4562}"/>
          </ac:spMkLst>
        </pc:spChg>
        <pc:spChg chg="add del mod modVis">
          <ac:chgData name="vonWaldow, Ulrich" userId="c64b3fe1-2fbf-4408-adc4-30add62e991f" providerId="ADAL" clId="{B99A90B8-7D29-4456-AFD4-0F3DBA13A596}" dt="2024-08-27T12:41:08.088" v="90221"/>
          <ac:spMkLst>
            <pc:docMk/>
            <pc:sldMk cId="0" sldId="275"/>
            <ac:spMk id="12665" creationId="{88264190-FA2F-4F87-C7D7-8F048D0C41F2}"/>
          </ac:spMkLst>
        </pc:spChg>
        <pc:spChg chg="add del mod modVis">
          <ac:chgData name="vonWaldow, Ulrich" userId="c64b3fe1-2fbf-4408-adc4-30add62e991f" providerId="ADAL" clId="{B99A90B8-7D29-4456-AFD4-0F3DBA13A596}" dt="2024-08-27T12:41:14.090" v="90690"/>
          <ac:spMkLst>
            <pc:docMk/>
            <pc:sldMk cId="0" sldId="275"/>
            <ac:spMk id="12667" creationId="{E1C8409D-C388-1DC4-AC2A-886ED7F9303B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49"/>
          <ac:spMkLst>
            <pc:docMk/>
            <pc:sldMk cId="0" sldId="275"/>
            <ac:spMk id="126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0"/>
          <ac:spMkLst>
            <pc:docMk/>
            <pc:sldMk cId="0" sldId="275"/>
            <ac:spMk id="126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1"/>
          <ac:spMkLst>
            <pc:docMk/>
            <pc:sldMk cId="0" sldId="275"/>
            <ac:spMk id="126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2"/>
          <ac:spMkLst>
            <pc:docMk/>
            <pc:sldMk cId="0" sldId="275"/>
            <ac:spMk id="126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3"/>
          <ac:spMkLst>
            <pc:docMk/>
            <pc:sldMk cId="0" sldId="275"/>
            <ac:spMk id="1267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4"/>
          <ac:spMkLst>
            <pc:docMk/>
            <pc:sldMk cId="0" sldId="275"/>
            <ac:spMk id="1267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14.907" v="90819"/>
          <ac:spMkLst>
            <pc:docMk/>
            <pc:sldMk cId="0" sldId="275"/>
            <ac:spMk id="12675" creationId="{0A2252FF-D1BD-5C84-4E04-EAAFED79AB93}"/>
          </ac:spMkLst>
        </pc:spChg>
        <pc:spChg chg="add del mod modVis">
          <ac:chgData name="vonWaldow, Ulrich" userId="c64b3fe1-2fbf-4408-adc4-30add62e991f" providerId="ADAL" clId="{B99A90B8-7D29-4456-AFD4-0F3DBA13A596}" dt="2024-08-27T12:41:19.234" v="91288"/>
          <ac:spMkLst>
            <pc:docMk/>
            <pc:sldMk cId="0" sldId="275"/>
            <ac:spMk id="12677" creationId="{DE3E8DF8-1BB5-CF47-635D-BEC57AA75031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7"/>
          <ac:spMkLst>
            <pc:docMk/>
            <pc:sldMk cId="0" sldId="275"/>
            <ac:spMk id="1267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8"/>
          <ac:spMkLst>
            <pc:docMk/>
            <pc:sldMk cId="0" sldId="275"/>
            <ac:spMk id="1267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9"/>
          <ac:spMkLst>
            <pc:docMk/>
            <pc:sldMk cId="0" sldId="275"/>
            <ac:spMk id="1268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50"/>
          <ac:spMkLst>
            <pc:docMk/>
            <pc:sldMk cId="0" sldId="275"/>
            <ac:spMk id="126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35" v="91351"/>
          <ac:spMkLst>
            <pc:docMk/>
            <pc:sldMk cId="0" sldId="275"/>
            <ac:spMk id="1268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35" v="91352"/>
          <ac:spMkLst>
            <pc:docMk/>
            <pc:sldMk cId="0" sldId="275"/>
            <ac:spMk id="1268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20.101" v="91417"/>
          <ac:spMkLst>
            <pc:docMk/>
            <pc:sldMk cId="0" sldId="275"/>
            <ac:spMk id="12685" creationId="{06B2037C-F3CD-0AA6-E85D-889D60A3FEC7}"/>
          </ac:spMkLst>
        </pc:spChg>
        <pc:spChg chg="add del mod modVis">
          <ac:chgData name="vonWaldow, Ulrich" userId="c64b3fe1-2fbf-4408-adc4-30add62e991f" providerId="ADAL" clId="{B99A90B8-7D29-4456-AFD4-0F3DBA13A596}" dt="2024-08-27T12:41:22.043" v="91558"/>
          <ac:spMkLst>
            <pc:docMk/>
            <pc:sldMk cId="0" sldId="275"/>
            <ac:spMk id="12687" creationId="{E4EDBEB6-148C-66AF-96F5-4D927D772F14}"/>
          </ac:spMkLst>
        </pc:spChg>
        <pc:spChg chg="add del mod modVis">
          <ac:chgData name="vonWaldow, Ulrich" userId="c64b3fe1-2fbf-4408-adc4-30add62e991f" providerId="ADAL" clId="{B99A90B8-7D29-4456-AFD4-0F3DBA13A596}" dt="2024-08-27T12:41:27.396" v="91742"/>
          <ac:spMkLst>
            <pc:docMk/>
            <pc:sldMk cId="0" sldId="275"/>
            <ac:spMk id="12689" creationId="{41181B57-6987-2D5F-CBD2-1A2CCD5320B4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4"/>
          <ac:spMkLst>
            <pc:docMk/>
            <pc:sldMk cId="0" sldId="275"/>
            <ac:spMk id="12690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34.781" v="91876"/>
          <ac:spMkLst>
            <pc:docMk/>
            <pc:sldMk cId="0" sldId="275"/>
            <ac:spMk id="12692" creationId="{2728FC7C-9C16-3706-E2B0-E16C449FDC50}"/>
          </ac:spMkLst>
        </pc:spChg>
        <pc:spChg chg="add del mod modVis">
          <ac:chgData name="vonWaldow, Ulrich" userId="c64b3fe1-2fbf-4408-adc4-30add62e991f" providerId="ADAL" clId="{B99A90B8-7D29-4456-AFD4-0F3DBA13A596}" dt="2024-08-27T12:41:35.690" v="91997"/>
          <ac:spMkLst>
            <pc:docMk/>
            <pc:sldMk cId="0" sldId="275"/>
            <ac:spMk id="12694" creationId="{4252F602-377E-82B7-5294-B3FCB849118E}"/>
          </ac:spMkLst>
        </pc:spChg>
        <pc:spChg chg="add del mod modVis">
          <ac:chgData name="vonWaldow, Ulrich" userId="c64b3fe1-2fbf-4408-adc4-30add62e991f" providerId="ADAL" clId="{B99A90B8-7D29-4456-AFD4-0F3DBA13A596}" dt="2024-08-27T12:41:38.943" v="92120"/>
          <ac:spMkLst>
            <pc:docMk/>
            <pc:sldMk cId="0" sldId="275"/>
            <ac:spMk id="12696" creationId="{6003AF78-AD41-BC6A-B867-EB2C4E7E7DBE}"/>
          </ac:spMkLst>
        </pc:spChg>
        <pc:spChg chg="add del mod modVis">
          <ac:chgData name="vonWaldow, Ulrich" userId="c64b3fe1-2fbf-4408-adc4-30add62e991f" providerId="ADAL" clId="{B99A90B8-7D29-4456-AFD4-0F3DBA13A596}" dt="2024-08-27T12:41:41.141" v="92244"/>
          <ac:spMkLst>
            <pc:docMk/>
            <pc:sldMk cId="0" sldId="275"/>
            <ac:spMk id="12698" creationId="{3C383D4B-633D-68F0-C795-A3E678ACE295}"/>
          </ac:spMkLst>
        </pc:spChg>
        <pc:spChg chg="add del mod modVis">
          <ac:chgData name="vonWaldow, Ulrich" userId="c64b3fe1-2fbf-4408-adc4-30add62e991f" providerId="ADAL" clId="{B99A90B8-7D29-4456-AFD4-0F3DBA13A596}" dt="2024-08-27T12:41:44.278" v="92364"/>
          <ac:spMkLst>
            <pc:docMk/>
            <pc:sldMk cId="0" sldId="275"/>
            <ac:spMk id="12700" creationId="{6C92EBD4-B801-15D4-83B5-315321D9E3B0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3"/>
          <ac:spMkLst>
            <pc:docMk/>
            <pc:sldMk cId="0" sldId="275"/>
            <ac:spMk id="1270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2:00.749" v="92660"/>
          <ac:spMkLst>
            <pc:docMk/>
            <pc:sldMk cId="0" sldId="275"/>
            <ac:spMk id="12703" creationId="{6D420BC2-0C31-6883-D011-BA03D7006EAD}"/>
          </ac:spMkLst>
        </pc:spChg>
        <pc:spChg chg="add del mod replST">
          <ac:chgData name="vonWaldow, Ulrich" userId="c64b3fe1-2fbf-4408-adc4-30add62e991f" providerId="ADAL" clId="{B99A90B8-7D29-4456-AFD4-0F3DBA13A596}" dt="2024-08-27T12:43:28.555" v="94228"/>
          <ac:spMkLst>
            <pc:docMk/>
            <pc:sldMk cId="0" sldId="275"/>
            <ac:spMk id="12704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3:28.555" v="94230"/>
          <ac:spMkLst>
            <pc:docMk/>
            <pc:sldMk cId="0" sldId="275"/>
            <ac:spMk id="12707" creationId="{86DBC14F-519E-86AA-CFA6-FB8DCED74AE3}"/>
          </ac:spMkLst>
        </pc:spChg>
        <pc:spChg chg="add del mod ord replST">
          <ac:chgData name="vonWaldow, Ulrich" userId="c64b3fe1-2fbf-4408-adc4-30add62e991f" providerId="ADAL" clId="{B99A90B8-7D29-4456-AFD4-0F3DBA13A596}" dt="2024-08-27T12:43:28.555" v="94227"/>
          <ac:spMkLst>
            <pc:docMk/>
            <pc:sldMk cId="0" sldId="275"/>
            <ac:spMk id="12708" creationId="{B9F02958-CE8E-1A39-0FC6-D1CD9F7177A5}"/>
          </ac:spMkLst>
        </pc:spChg>
        <pc:spChg chg="add del mod ord">
          <ac:chgData name="vonWaldow, Ulrich" userId="c64b3fe1-2fbf-4408-adc4-30add62e991f" providerId="ADAL" clId="{B99A90B8-7D29-4456-AFD4-0F3DBA13A596}" dt="2024-08-27T12:43:28.569" v="94249"/>
          <ac:spMkLst>
            <pc:docMk/>
            <pc:sldMk cId="0" sldId="275"/>
            <ac:spMk id="12709" creationId="{E59BD148-54B1-2D95-2BF4-45FE9C2BFEFB}"/>
          </ac:spMkLst>
        </pc:spChg>
        <pc:spChg chg="add del mod ord">
          <ac:chgData name="vonWaldow, Ulrich" userId="c64b3fe1-2fbf-4408-adc4-30add62e991f" providerId="ADAL" clId="{B99A90B8-7D29-4456-AFD4-0F3DBA13A596}" dt="2024-08-27T12:43:28.555" v="94225"/>
          <ac:spMkLst>
            <pc:docMk/>
            <pc:sldMk cId="0" sldId="275"/>
            <ac:spMk id="12711" creationId="{3786F705-79ED-07A1-46B7-6D4130C06CAD}"/>
          </ac:spMkLst>
        </pc:spChg>
        <pc:spChg chg="add mod replST">
          <ac:chgData name="vonWaldow, Ulrich" userId="c64b3fe1-2fbf-4408-adc4-30add62e991f" providerId="ADAL" clId="{B99A90B8-7D29-4456-AFD4-0F3DBA13A596}" dt="2024-08-27T12:43:18.464" v="94193"/>
          <ac:spMkLst>
            <pc:docMk/>
            <pc:sldMk cId="0" sldId="275"/>
            <ac:spMk id="12713" creationId="{EF5DCDB2-24F4-34FF-7087-AB88CBE67755}"/>
          </ac:spMkLst>
        </pc:spChg>
        <pc:spChg chg="add mod replST">
          <ac:chgData name="vonWaldow, Ulrich" userId="c64b3fe1-2fbf-4408-adc4-30add62e991f" providerId="ADAL" clId="{B99A90B8-7D29-4456-AFD4-0F3DBA13A596}" dt="2024-08-27T12:43:18.464" v="94194"/>
          <ac:spMkLst>
            <pc:docMk/>
            <pc:sldMk cId="0" sldId="275"/>
            <ac:spMk id="12714" creationId="{13A595A4-E452-DDAE-1F3E-0E87B14D19F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5"/>
          <ac:spMkLst>
            <pc:docMk/>
            <pc:sldMk cId="0" sldId="275"/>
            <ac:spMk id="12715" creationId="{D2A42713-90F6-0015-2CCC-1455495E389E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6"/>
          <ac:spMkLst>
            <pc:docMk/>
            <pc:sldMk cId="0" sldId="275"/>
            <ac:spMk id="12716" creationId="{EA4E66D1-E8F8-D090-19BA-F3A1EBE2D570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7"/>
          <ac:spMkLst>
            <pc:docMk/>
            <pc:sldMk cId="0" sldId="275"/>
            <ac:spMk id="12717" creationId="{4B038499-F0D1-F46E-99CF-22D53CCDC433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8"/>
          <ac:spMkLst>
            <pc:docMk/>
            <pc:sldMk cId="0" sldId="275"/>
            <ac:spMk id="12718" creationId="{B47B5E84-CD4E-345B-18CF-D367796B394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9"/>
          <ac:spMkLst>
            <pc:docMk/>
            <pc:sldMk cId="0" sldId="275"/>
            <ac:spMk id="12719" creationId="{2068CC15-ABBB-7E9B-5C92-B45069E466EA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0"/>
          <ac:spMkLst>
            <pc:docMk/>
            <pc:sldMk cId="0" sldId="275"/>
            <ac:spMk id="12720" creationId="{D316F535-58C3-FB5C-F8F0-54512193E15A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1"/>
          <ac:spMkLst>
            <pc:docMk/>
            <pc:sldMk cId="0" sldId="275"/>
            <ac:spMk id="12721" creationId="{C4220ECA-94CC-0EE5-7B97-15F6677E6A8C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2"/>
          <ac:spMkLst>
            <pc:docMk/>
            <pc:sldMk cId="0" sldId="275"/>
            <ac:spMk id="12722" creationId="{F25EBD7B-73E4-554D-E650-676EDBFD6C94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3"/>
          <ac:spMkLst>
            <pc:docMk/>
            <pc:sldMk cId="0" sldId="275"/>
            <ac:spMk id="12723" creationId="{E1F8A3AB-D1CB-6D9A-486C-DE4CF83D2FF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4"/>
          <ac:spMkLst>
            <pc:docMk/>
            <pc:sldMk cId="0" sldId="275"/>
            <ac:spMk id="12724" creationId="{CC8EAB75-3928-515D-5187-91949ED62E8B}"/>
          </ac:spMkLst>
        </pc:spChg>
        <pc:spChg chg="add mod ord replST">
          <ac:chgData name="vonWaldow, Ulrich" userId="c64b3fe1-2fbf-4408-adc4-30add62e991f" providerId="ADAL" clId="{B99A90B8-7D29-4456-AFD4-0F3DBA13A596}" dt="2024-08-27T12:43:18.480" v="94208"/>
          <ac:spMkLst>
            <pc:docMk/>
            <pc:sldMk cId="0" sldId="275"/>
            <ac:spMk id="12726" creationId="{ABC45791-9A16-1FCF-B93D-B94043506D77}"/>
          </ac:spMkLst>
        </pc:spChg>
        <pc:spChg chg="add mod ord replST">
          <ac:chgData name="vonWaldow, Ulrich" userId="c64b3fe1-2fbf-4408-adc4-30add62e991f" providerId="ADAL" clId="{B99A90B8-7D29-4456-AFD4-0F3DBA13A596}" dt="2024-08-27T12:43:18.480" v="94210"/>
          <ac:spMkLst>
            <pc:docMk/>
            <pc:sldMk cId="0" sldId="275"/>
            <ac:spMk id="12727" creationId="{597A5BC4-B9DF-D32D-8674-8D9AB6DEC7BD}"/>
          </ac:spMkLst>
        </pc:spChg>
        <pc:spChg chg="add mod replST">
          <ac:chgData name="vonWaldow, Ulrich" userId="c64b3fe1-2fbf-4408-adc4-30add62e991f" providerId="ADAL" clId="{B99A90B8-7D29-4456-AFD4-0F3DBA13A596}" dt="2024-08-27T12:43:32.362" v="94258"/>
          <ac:spMkLst>
            <pc:docMk/>
            <pc:sldMk cId="0" sldId="275"/>
            <ac:spMk id="12728" creationId="{05586547-856F-3B3D-036C-36B2E43700BB}"/>
          </ac:spMkLst>
        </pc:spChg>
        <pc:spChg chg="add mod replST">
          <ac:chgData name="vonWaldow, Ulrich" userId="c64b3fe1-2fbf-4408-adc4-30add62e991f" providerId="ADAL" clId="{B99A90B8-7D29-4456-AFD4-0F3DBA13A596}" dt="2024-08-27T12:43:32.362" v="94259"/>
          <ac:spMkLst>
            <pc:docMk/>
            <pc:sldMk cId="0" sldId="275"/>
            <ac:spMk id="12729" creationId="{E86D5B94-3BEF-6F9F-B9D5-0261C7C35DD7}"/>
          </ac:spMkLst>
        </pc:spChg>
        <pc:spChg chg="add mod ord">
          <ac:chgData name="vonWaldow, Ulrich" userId="c64b3fe1-2fbf-4408-adc4-30add62e991f" providerId="ADAL" clId="{B99A90B8-7D29-4456-AFD4-0F3DBA13A596}" dt="2024-08-27T12:43:18.480" v="94214"/>
          <ac:spMkLst>
            <pc:docMk/>
            <pc:sldMk cId="0" sldId="275"/>
            <ac:spMk id="12730" creationId="{C5B88617-167F-BB9F-B90D-FE3DD032DA21}"/>
          </ac:spMkLst>
        </pc:spChg>
        <pc:spChg chg="add del mod ord">
          <ac:chgData name="vonWaldow, Ulrich" userId="c64b3fe1-2fbf-4408-adc4-30add62e991f" providerId="ADAL" clId="{B99A90B8-7D29-4456-AFD4-0F3DBA13A596}" dt="2024-08-27T12:43:24.613" v="94223" actId="478"/>
          <ac:spMkLst>
            <pc:docMk/>
            <pc:sldMk cId="0" sldId="275"/>
            <ac:spMk id="12731" creationId="{80B3977D-ADE9-2456-4B53-0F7D2E2AF8BD}"/>
          </ac:spMkLst>
        </pc:spChg>
        <pc:spChg chg="add del mod modVis">
          <ac:chgData name="vonWaldow, Ulrich" userId="c64b3fe1-2fbf-4408-adc4-30add62e991f" providerId="ADAL" clId="{B99A90B8-7D29-4456-AFD4-0F3DBA13A596}" dt="2024-08-27T12:43:18.480" v="94220"/>
          <ac:spMkLst>
            <pc:docMk/>
            <pc:sldMk cId="0" sldId="275"/>
            <ac:spMk id="12732" creationId="{9AE61879-8B52-C87D-309A-DFC21B5943BE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4" creationId="{B2D66CEB-D66E-56B4-7632-E1AEC4BCA81A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5" creationId="{05C52F57-A004-B261-73C4-53FFE5E09A89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6" creationId="{CFD9DB9C-A310-06DB-404B-24373D2C8EA4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7" creationId="{69154706-4401-ABD3-5E4A-DE1AF8413D64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8" creationId="{64DCC263-EB79-AAE6-2B82-FFFDB73CF998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9" creationId="{5B34BCEB-6B58-67C1-C0E3-647EA466E4F0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0" creationId="{28D0CE0D-85AF-27C1-6136-B80FA5F8AE66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1" creationId="{442E69D0-4108-6549-4F26-51A5DC43B18B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2" creationId="{0CAB66E7-E79F-3A64-82EF-19B49FB2C41B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3" creationId="{7CE6A125-F52D-6BDF-765E-2D67B4A2EF59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4" creationId="{2FB2A54A-BEFD-D7E9-6BF2-990D6616F64C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5" creationId="{569A13EF-1137-065A-7C12-30F311032332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6" creationId="{C2B0DE9B-DEDE-F8B9-9AA8-D5582E8569F8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7" creationId="{1B167A6E-1AAF-603D-72C1-C053F5691000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8" creationId="{64B29726-7C09-44BF-564B-5669A197DD43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9" creationId="{ED133A01-8A84-8212-0376-BD6C7058D1BD}"/>
          </ac:spMkLst>
        </pc:spChg>
        <pc:spChg chg="add del mod modVis">
          <ac:chgData name="vonWaldow, Ulrich" userId="c64b3fe1-2fbf-4408-adc4-30add62e991f" providerId="ADAL" clId="{B99A90B8-7D29-4456-AFD4-0F3DBA13A596}" dt="2024-08-27T12:43:32.393" v="94281"/>
          <ac:spMkLst>
            <pc:docMk/>
            <pc:sldMk cId="0" sldId="275"/>
            <ac:spMk id="12750" creationId="{2D231CDD-9D63-C1AF-721C-A60178CD5E47}"/>
          </ac:spMkLst>
        </pc:spChg>
        <pc:graphicFrameChg chg="add del mod replST">
          <ac:chgData name="vonWaldow, Ulrich" userId="c64b3fe1-2fbf-4408-adc4-30add62e991f" providerId="ADAL" clId="{B99A90B8-7D29-4456-AFD4-0F3DBA13A596}" dt="2024-08-27T12:27:22.431" v="67411"/>
          <ac:graphicFrameMkLst>
            <pc:docMk/>
            <pc:sldMk cId="0" sldId="275"/>
            <ac:graphicFrameMk id="28" creationId="{2E588537-6020-5E86-9E61-D2DDA1982134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7T12:43:32.409" v="94283"/>
          <ac:graphicFrameMkLst>
            <pc:docMk/>
            <pc:sldMk cId="0" sldId="275"/>
            <ac:graphicFrameMk id="29" creationId="{580038E2-80C5-0451-8EDF-9F1C6971A4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23.515" v="67526"/>
          <ac:graphicFrameMkLst>
            <pc:docMk/>
            <pc:sldMk cId="0" sldId="275"/>
            <ac:graphicFrameMk id="31" creationId="{6C7215A3-99B7-455C-811F-EEB03F78FC2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32.790" v="67582"/>
          <ac:graphicFrameMkLst>
            <pc:docMk/>
            <pc:sldMk cId="0" sldId="275"/>
            <ac:graphicFrameMk id="33" creationId="{00DD7BF4-C033-6685-314E-BE482226ADE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4.135" v="68388"/>
          <ac:graphicFrameMkLst>
            <pc:docMk/>
            <pc:sldMk cId="0" sldId="275"/>
            <ac:graphicFrameMk id="44" creationId="{496191C8-A987-28E1-5B9F-46123D8DF45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6.025" v="68515"/>
          <ac:graphicFrameMkLst>
            <pc:docMk/>
            <pc:sldMk cId="0" sldId="275"/>
            <ac:graphicFrameMk id="49" creationId="{7D93BE47-EECD-20D9-1DE4-118779BAB6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6.946" v="68642"/>
          <ac:graphicFrameMkLst>
            <pc:docMk/>
            <pc:sldMk cId="0" sldId="275"/>
            <ac:graphicFrameMk id="51" creationId="{141F684D-27E6-583D-73DA-532EE1D8937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54.141" v="68769"/>
          <ac:graphicFrameMkLst>
            <pc:docMk/>
            <pc:sldMk cId="0" sldId="275"/>
            <ac:graphicFrameMk id="53" creationId="{8AC51639-465A-9D8C-2CCA-7A7999F675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10.409" v="68887"/>
          <ac:graphicFrameMkLst>
            <pc:docMk/>
            <pc:sldMk cId="0" sldId="275"/>
            <ac:graphicFrameMk id="55" creationId="{E822D05C-C17C-D2BE-1319-AADD6944CE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11.598" v="69070"/>
          <ac:graphicFrameMkLst>
            <pc:docMk/>
            <pc:sldMk cId="0" sldId="275"/>
            <ac:graphicFrameMk id="57" creationId="{538FA70F-6C99-1BC9-5123-BEE5D596E4F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23.288" v="69202"/>
          <ac:graphicFrameMkLst>
            <pc:docMk/>
            <pc:sldMk cId="0" sldId="275"/>
            <ac:graphicFrameMk id="59" creationId="{42D1C950-40A3-4EEA-FEE7-F0AB449B84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45.233" v="69331"/>
          <ac:graphicFrameMkLst>
            <pc:docMk/>
            <pc:sldMk cId="0" sldId="275"/>
            <ac:graphicFrameMk id="61" creationId="{E73D5DE8-3204-C6EB-D689-8CE7E26CE47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01.691" v="69444"/>
          <ac:graphicFrameMkLst>
            <pc:docMk/>
            <pc:sldMk cId="0" sldId="275"/>
            <ac:graphicFrameMk id="63" creationId="{04E2C148-3C99-EC39-100B-50232DA686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21.346" v="69557"/>
          <ac:graphicFrameMkLst>
            <pc:docMk/>
            <pc:sldMk cId="0" sldId="275"/>
            <ac:graphicFrameMk id="12289" creationId="{FFB08DB5-A8AB-56B4-E666-0ECF26B935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29.401" v="69697"/>
          <ac:graphicFrameMkLst>
            <pc:docMk/>
            <pc:sldMk cId="0" sldId="275"/>
            <ac:graphicFrameMk id="12292" creationId="{7186259C-E0C9-C523-4312-74BD23CC149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35.017" v="69857"/>
          <ac:graphicFrameMkLst>
            <pc:docMk/>
            <pc:sldMk cId="0" sldId="275"/>
            <ac:graphicFrameMk id="12295" creationId="{F66641BE-45BD-AB47-FFBB-8EE9840D2E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47.442" v="70021"/>
          <ac:graphicFrameMkLst>
            <pc:docMk/>
            <pc:sldMk cId="0" sldId="275"/>
            <ac:graphicFrameMk id="12298" creationId="{5E97851D-5119-32F5-4FFF-73DF1690F8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50.968" v="70189"/>
          <ac:graphicFrameMkLst>
            <pc:docMk/>
            <pc:sldMk cId="0" sldId="275"/>
            <ac:graphicFrameMk id="12301" creationId="{C392FCB9-AECF-65B3-7E1A-4D8855E7FF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04.082" v="70361"/>
          <ac:graphicFrameMkLst>
            <pc:docMk/>
            <pc:sldMk cId="0" sldId="275"/>
            <ac:graphicFrameMk id="12304" creationId="{63BBDC6E-BE10-E311-EC53-C33EFE2DD8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16.817" v="70537"/>
          <ac:graphicFrameMkLst>
            <pc:docMk/>
            <pc:sldMk cId="0" sldId="275"/>
            <ac:graphicFrameMk id="12307" creationId="{04E32181-F12F-C3AB-81A5-7A078DDEAD4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23.931" v="70717"/>
          <ac:graphicFrameMkLst>
            <pc:docMk/>
            <pc:sldMk cId="0" sldId="275"/>
            <ac:graphicFrameMk id="12310" creationId="{0D187F76-DF63-EBF4-A8D4-E3A465238EE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50.989" v="71044"/>
          <ac:graphicFrameMkLst>
            <pc:docMk/>
            <pc:sldMk cId="0" sldId="275"/>
            <ac:graphicFrameMk id="12313" creationId="{ACB5981B-E291-EF04-1108-12E386D734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59.411" v="71201"/>
          <ac:graphicFrameMkLst>
            <pc:docMk/>
            <pc:sldMk cId="0" sldId="275"/>
            <ac:graphicFrameMk id="12318" creationId="{B91B0C33-09E6-93B4-BD66-42B365810A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03.235" v="71370"/>
          <ac:graphicFrameMkLst>
            <pc:docMk/>
            <pc:sldMk cId="0" sldId="275"/>
            <ac:graphicFrameMk id="12320" creationId="{D8864532-6E49-79CA-1B68-4F02BB2A62F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13.625" v="71569"/>
          <ac:graphicFrameMkLst>
            <pc:docMk/>
            <pc:sldMk cId="0" sldId="275"/>
            <ac:graphicFrameMk id="12323" creationId="{27819A82-9F5F-D552-D440-B1A92335B84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18.647" v="71728"/>
          <ac:graphicFrameMkLst>
            <pc:docMk/>
            <pc:sldMk cId="0" sldId="275"/>
            <ac:graphicFrameMk id="12326" creationId="{BEADA023-1642-8F50-D2A3-7C9EF45F9C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23.660" v="71871"/>
          <ac:graphicFrameMkLst>
            <pc:docMk/>
            <pc:sldMk cId="0" sldId="275"/>
            <ac:graphicFrameMk id="12329" creationId="{E29F56EF-6AD9-2AD2-7C4C-D909D62963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35.281" v="72014"/>
          <ac:graphicFrameMkLst>
            <pc:docMk/>
            <pc:sldMk cId="0" sldId="275"/>
            <ac:graphicFrameMk id="12332" creationId="{E394A148-18D0-DCA2-489B-1BC3BBBC48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51.802" v="72157"/>
          <ac:graphicFrameMkLst>
            <pc:docMk/>
            <pc:sldMk cId="0" sldId="275"/>
            <ac:graphicFrameMk id="12335" creationId="{C92AFBD0-87D8-ED82-702D-1196AA37587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02.965" v="72287"/>
          <ac:graphicFrameMkLst>
            <pc:docMk/>
            <pc:sldMk cId="0" sldId="275"/>
            <ac:graphicFrameMk id="12338" creationId="{D01BBC83-385C-1CC8-82CA-FD50429C71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17.955" v="72415"/>
          <ac:graphicFrameMkLst>
            <pc:docMk/>
            <pc:sldMk cId="0" sldId="275"/>
            <ac:graphicFrameMk id="12340" creationId="{A6D8AEC1-C344-B678-A5EE-854C622591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29.066" v="72586"/>
          <ac:graphicFrameMkLst>
            <pc:docMk/>
            <pc:sldMk cId="0" sldId="275"/>
            <ac:graphicFrameMk id="12342" creationId="{877F8EE2-64B1-FC73-A509-98DA8CB3E1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43.157" v="74400"/>
          <ac:graphicFrameMkLst>
            <pc:docMk/>
            <pc:sldMk cId="0" sldId="275"/>
            <ac:graphicFrameMk id="12344" creationId="{0E70EE49-2C1E-94CB-59AA-7B26B357B4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2.622" v="74628"/>
          <ac:graphicFrameMkLst>
            <pc:docMk/>
            <pc:sldMk cId="0" sldId="275"/>
            <ac:graphicFrameMk id="12405" creationId="{08CB15C3-873A-90C8-BC31-C61EB982C6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5.080" v="74827"/>
          <ac:graphicFrameMkLst>
            <pc:docMk/>
            <pc:sldMk cId="0" sldId="275"/>
            <ac:graphicFrameMk id="12407" creationId="{41083218-C0A6-2F77-DE14-3650ED8C0A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7.332" v="75173"/>
          <ac:graphicFrameMkLst>
            <pc:docMk/>
            <pc:sldMk cId="0" sldId="275"/>
            <ac:graphicFrameMk id="12409" creationId="{1FCEF762-0CD7-0AC5-CDFD-2DC2E66E00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3:07.133" v="75940"/>
          <ac:graphicFrameMkLst>
            <pc:docMk/>
            <pc:sldMk cId="0" sldId="275"/>
            <ac:graphicFrameMk id="12420" creationId="{A44B06F0-5600-B67E-A481-D8295F8AF7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2.488" v="76123"/>
          <ac:graphicFrameMkLst>
            <pc:docMk/>
            <pc:sldMk cId="0" sldId="275"/>
            <ac:graphicFrameMk id="12441" creationId="{317C1C95-B460-0E9B-2EF2-F5B6332C64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3.826" v="76455"/>
          <ac:graphicFrameMkLst>
            <pc:docMk/>
            <pc:sldMk cId="0" sldId="275"/>
            <ac:graphicFrameMk id="12443" creationId="{06A370AA-E519-E2EF-0E88-C8ECA35C0B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5.779" v="76720"/>
          <ac:graphicFrameMkLst>
            <pc:docMk/>
            <pc:sldMk cId="0" sldId="275"/>
            <ac:graphicFrameMk id="12447" creationId="{1EAA0FAA-C316-D32D-51C3-96DB8E52E64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7.268" v="77133"/>
          <ac:graphicFrameMkLst>
            <pc:docMk/>
            <pc:sldMk cId="0" sldId="275"/>
            <ac:graphicFrameMk id="12449" creationId="{4E8582B5-94E7-C279-C9CE-A1DBF0122E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01.051" v="77410"/>
          <ac:graphicFrameMkLst>
            <pc:docMk/>
            <pc:sldMk cId="0" sldId="275"/>
            <ac:graphicFrameMk id="12455" creationId="{7AA40136-2D2B-7820-C223-F4120F10AE6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09.925" v="77675"/>
          <ac:graphicFrameMkLst>
            <pc:docMk/>
            <pc:sldMk cId="0" sldId="275"/>
            <ac:graphicFrameMk id="12457" creationId="{FBDBDD2D-D531-6F69-4AC7-1A17CB939F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1.177" v="78017"/>
          <ac:graphicFrameMkLst>
            <pc:docMk/>
            <pc:sldMk cId="0" sldId="275"/>
            <ac:graphicFrameMk id="12459" creationId="{02E360B6-4791-DDD2-864C-FD872653733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2.198" v="78367"/>
          <ac:graphicFrameMkLst>
            <pc:docMk/>
            <pc:sldMk cId="0" sldId="275"/>
            <ac:graphicFrameMk id="12463" creationId="{2C921B77-2CE3-6CB5-02A6-1A51BF944F9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4.251" v="78910"/>
          <ac:graphicFrameMkLst>
            <pc:docMk/>
            <pc:sldMk cId="0" sldId="275"/>
            <ac:graphicFrameMk id="12467" creationId="{44F2A5D3-F44E-C10A-37AE-DD92F46B0B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36.068" v="79077"/>
          <ac:graphicFrameMkLst>
            <pc:docMk/>
            <pc:sldMk cId="0" sldId="275"/>
            <ac:graphicFrameMk id="12477" creationId="{E2F189C1-7696-80BA-59F3-6853D8992F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42.396" v="79297"/>
          <ac:graphicFrameMkLst>
            <pc:docMk/>
            <pc:sldMk cId="0" sldId="275"/>
            <ac:graphicFrameMk id="12479" creationId="{4A9B1443-DC00-1463-C1B3-E6D4B1FECE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48.836" v="79442"/>
          <ac:graphicFrameMkLst>
            <pc:docMk/>
            <pc:sldMk cId="0" sldId="275"/>
            <ac:graphicFrameMk id="12481" creationId="{6C5A5F4A-C501-E775-3197-2B8C70A34EC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52.295" v="79609"/>
          <ac:graphicFrameMkLst>
            <pc:docMk/>
            <pc:sldMk cId="0" sldId="275"/>
            <ac:graphicFrameMk id="12483" creationId="{6085EF3C-1A7C-E639-CE0C-75CD8315A8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56.998" v="79716"/>
          <ac:graphicFrameMkLst>
            <pc:docMk/>
            <pc:sldMk cId="0" sldId="275"/>
            <ac:graphicFrameMk id="12485" creationId="{160A4CB8-8435-A119-665E-F3CEE66E462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2.898" v="79819"/>
          <ac:graphicFrameMkLst>
            <pc:docMk/>
            <pc:sldMk cId="0" sldId="275"/>
            <ac:graphicFrameMk id="12487" creationId="{90FD33C6-D09E-EA40-8B1D-2929136B35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3.773" v="79926"/>
          <ac:graphicFrameMkLst>
            <pc:docMk/>
            <pc:sldMk cId="0" sldId="275"/>
            <ac:graphicFrameMk id="12489" creationId="{028BCE45-A049-5BC8-9BF0-67C0BB2F9CF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7.965" v="80033"/>
          <ac:graphicFrameMkLst>
            <pc:docMk/>
            <pc:sldMk cId="0" sldId="275"/>
            <ac:graphicFrameMk id="12491" creationId="{9D1A26D0-869A-E274-C5E7-157E51E57A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56.091" v="80142"/>
          <ac:graphicFrameMkLst>
            <pc:docMk/>
            <pc:sldMk cId="0" sldId="275"/>
            <ac:graphicFrameMk id="12493" creationId="{C123E8A6-EED2-8F3F-0FAF-8B31983B70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56.640" v="80249"/>
          <ac:graphicFrameMkLst>
            <pc:docMk/>
            <pc:sldMk cId="0" sldId="275"/>
            <ac:graphicFrameMk id="12495" creationId="{6D6D296A-92DC-463C-FF2B-2EF9A8C687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12.461" v="80356"/>
          <ac:graphicFrameMkLst>
            <pc:docMk/>
            <pc:sldMk cId="0" sldId="275"/>
            <ac:graphicFrameMk id="12497" creationId="{FE12849D-1136-7414-5AC5-FC1A0534EC5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16.895" v="80463"/>
          <ac:graphicFrameMkLst>
            <pc:docMk/>
            <pc:sldMk cId="0" sldId="275"/>
            <ac:graphicFrameMk id="12499" creationId="{DED5AD2C-0B37-05F8-F0F6-245F1393A7C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25.251" v="80570"/>
          <ac:graphicFrameMkLst>
            <pc:docMk/>
            <pc:sldMk cId="0" sldId="275"/>
            <ac:graphicFrameMk id="12501" creationId="{B89FB1BE-CB7E-6F8D-3D0C-BDA32E3AEA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30.091" v="80677"/>
          <ac:graphicFrameMkLst>
            <pc:docMk/>
            <pc:sldMk cId="0" sldId="275"/>
            <ac:graphicFrameMk id="12503" creationId="{5DDDE47E-C94F-065B-6A2C-7F2D8D7304D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45.445" v="80784"/>
          <ac:graphicFrameMkLst>
            <pc:docMk/>
            <pc:sldMk cId="0" sldId="275"/>
            <ac:graphicFrameMk id="12505" creationId="{741A91BC-C76E-0E0C-7FA5-C093B10A61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52.376" v="80911"/>
          <ac:graphicFrameMkLst>
            <pc:docMk/>
            <pc:sldMk cId="0" sldId="275"/>
            <ac:graphicFrameMk id="12507" creationId="{B76F2F47-F492-A1E6-3B5E-5E0A0B6B437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2.125" v="81049"/>
          <ac:graphicFrameMkLst>
            <pc:docMk/>
            <pc:sldMk cId="0" sldId="275"/>
            <ac:graphicFrameMk id="12509" creationId="{CAE51676-72B2-E8BF-F2E6-DA9AB8EC2F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3.599" v="81177"/>
          <ac:graphicFrameMkLst>
            <pc:docMk/>
            <pc:sldMk cId="0" sldId="275"/>
            <ac:graphicFrameMk id="12512" creationId="{B4A3BF55-457B-2018-00FD-AB60373CDC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5.852" v="81290"/>
          <ac:graphicFrameMkLst>
            <pc:docMk/>
            <pc:sldMk cId="0" sldId="275"/>
            <ac:graphicFrameMk id="12515" creationId="{81687BEE-7600-5CF6-5DC0-25F4BB17E7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8.267" v="81403"/>
          <ac:graphicFrameMkLst>
            <pc:docMk/>
            <pc:sldMk cId="0" sldId="275"/>
            <ac:graphicFrameMk id="12517" creationId="{138ABAE6-7758-BAC6-7946-8A1853BDCAF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0.394" v="81516"/>
          <ac:graphicFrameMkLst>
            <pc:docMk/>
            <pc:sldMk cId="0" sldId="275"/>
            <ac:graphicFrameMk id="12519" creationId="{4841C641-F3D9-73E3-AA04-3D21ACD139B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1.596" v="81629"/>
          <ac:graphicFrameMkLst>
            <pc:docMk/>
            <pc:sldMk cId="0" sldId="275"/>
            <ac:graphicFrameMk id="12521" creationId="{714C7A50-F599-6E37-59AA-71DCA1D30EA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2.821" v="81742"/>
          <ac:graphicFrameMkLst>
            <pc:docMk/>
            <pc:sldMk cId="0" sldId="275"/>
            <ac:graphicFrameMk id="12523" creationId="{58169DAF-89CF-869C-FE56-C2545E0CAE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3.866" v="81855"/>
          <ac:graphicFrameMkLst>
            <pc:docMk/>
            <pc:sldMk cId="0" sldId="275"/>
            <ac:graphicFrameMk id="12525" creationId="{8591524B-DB4D-9235-6640-BFD153D2BF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5.301" v="81968"/>
          <ac:graphicFrameMkLst>
            <pc:docMk/>
            <pc:sldMk cId="0" sldId="275"/>
            <ac:graphicFrameMk id="12527" creationId="{25AE6506-9453-42BC-3711-F72E440B1D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6.957" v="82081"/>
          <ac:graphicFrameMkLst>
            <pc:docMk/>
            <pc:sldMk cId="0" sldId="275"/>
            <ac:graphicFrameMk id="12529" creationId="{01728968-3A7D-CFA4-30F5-4D8E8DCFFB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20.735" v="82210"/>
          <ac:graphicFrameMkLst>
            <pc:docMk/>
            <pc:sldMk cId="0" sldId="275"/>
            <ac:graphicFrameMk id="12531" creationId="{6BA31EFA-BCC0-E4D0-6829-4FEB59B350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38.332" v="82321"/>
          <ac:graphicFrameMkLst>
            <pc:docMk/>
            <pc:sldMk cId="0" sldId="275"/>
            <ac:graphicFrameMk id="12533" creationId="{B236BAB5-8443-A981-E12C-84BA41F4DCE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39.937" v="82454"/>
          <ac:graphicFrameMkLst>
            <pc:docMk/>
            <pc:sldMk cId="0" sldId="275"/>
            <ac:graphicFrameMk id="12535" creationId="{386C2EAD-EA58-4ADC-1FC6-62EF55D56E6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0.953" v="82563"/>
          <ac:graphicFrameMkLst>
            <pc:docMk/>
            <pc:sldMk cId="0" sldId="275"/>
            <ac:graphicFrameMk id="12537" creationId="{EC8C74DD-7A0A-F8DA-4B3A-266F182F6C3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3.399" v="82674"/>
          <ac:graphicFrameMkLst>
            <pc:docMk/>
            <pc:sldMk cId="0" sldId="275"/>
            <ac:graphicFrameMk id="12539" creationId="{D590091B-5C5B-B41C-9271-D3B8B46AF2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4.504" v="82803"/>
          <ac:graphicFrameMkLst>
            <pc:docMk/>
            <pc:sldMk cId="0" sldId="275"/>
            <ac:graphicFrameMk id="12541" creationId="{FC5A6656-4108-FEB5-B825-7D835AAEC4F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1.415" v="82914"/>
          <ac:graphicFrameMkLst>
            <pc:docMk/>
            <pc:sldMk cId="0" sldId="275"/>
            <ac:graphicFrameMk id="12543" creationId="{1B084ADE-C0A6-AE57-7406-025EFF3E6C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7.504" v="83741"/>
          <ac:graphicFrameMkLst>
            <pc:docMk/>
            <pc:sldMk cId="0" sldId="275"/>
            <ac:graphicFrameMk id="12545" creationId="{5C4F764A-1FE6-9723-459A-4F50A50EB65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8.679" v="83889"/>
          <ac:graphicFrameMkLst>
            <pc:docMk/>
            <pc:sldMk cId="0" sldId="275"/>
            <ac:graphicFrameMk id="12560" creationId="{B81D5915-80E1-60EE-7464-5BC5B3188E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06.721" v="84000"/>
          <ac:graphicFrameMkLst>
            <pc:docMk/>
            <pc:sldMk cId="0" sldId="275"/>
            <ac:graphicFrameMk id="12562" creationId="{42AE8F50-CABD-07C4-3521-670667EC4DA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0.438" v="84841"/>
          <ac:graphicFrameMkLst>
            <pc:docMk/>
            <pc:sldMk cId="0" sldId="275"/>
            <ac:graphicFrameMk id="12564" creationId="{37E7E617-4E63-F99D-4C02-BA5B5D4511B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1.409" v="84989"/>
          <ac:graphicFrameMkLst>
            <pc:docMk/>
            <pc:sldMk cId="0" sldId="275"/>
            <ac:graphicFrameMk id="12579" creationId="{A38E44AE-BD88-DAD3-9679-715311BC9E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8.459" v="85816"/>
          <ac:graphicFrameMkLst>
            <pc:docMk/>
            <pc:sldMk cId="0" sldId="275"/>
            <ac:graphicFrameMk id="12581" creationId="{EDC795C2-21D5-1A7F-5457-67C1B70643E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9.348" v="85964"/>
          <ac:graphicFrameMkLst>
            <pc:docMk/>
            <pc:sldMk cId="0" sldId="275"/>
            <ac:graphicFrameMk id="12596" creationId="{D5BD487E-3FAC-41E3-297E-2AA19B3E0C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21.585" v="86087"/>
          <ac:graphicFrameMkLst>
            <pc:docMk/>
            <pc:sldMk cId="0" sldId="275"/>
            <ac:graphicFrameMk id="12598" creationId="{5CCDB671-2074-708B-4A32-7E3DAD5EAE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25.842" v="86204"/>
          <ac:graphicFrameMkLst>
            <pc:docMk/>
            <pc:sldMk cId="0" sldId="275"/>
            <ac:graphicFrameMk id="12600" creationId="{1CAD0632-42A6-4E70-7A6E-80369C2693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32.310" v="86347"/>
          <ac:graphicFrameMkLst>
            <pc:docMk/>
            <pc:sldMk cId="0" sldId="275"/>
            <ac:graphicFrameMk id="12602" creationId="{7B2433D3-CCF4-E9A1-CE0A-6A881F2334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48.885" v="86442"/>
          <ac:graphicFrameMkLst>
            <pc:docMk/>
            <pc:sldMk cId="0" sldId="275"/>
            <ac:graphicFrameMk id="12604" creationId="{C15E8FE9-2C83-2764-0F55-C1E2183D20D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55.958" v="86537"/>
          <ac:graphicFrameMkLst>
            <pc:docMk/>
            <pc:sldMk cId="0" sldId="275"/>
            <ac:graphicFrameMk id="12606" creationId="{4957F054-2EB3-943A-1B30-B6CD3759CB3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02.277" v="86653"/>
          <ac:graphicFrameMkLst>
            <pc:docMk/>
            <pc:sldMk cId="0" sldId="275"/>
            <ac:graphicFrameMk id="12608" creationId="{0F0C9F7C-D330-FC7F-0149-A424CE4C6D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07.690" v="86797"/>
          <ac:graphicFrameMkLst>
            <pc:docMk/>
            <pc:sldMk cId="0" sldId="275"/>
            <ac:graphicFrameMk id="12610" creationId="{7065DE44-EAFC-7611-9F65-D6B053DA71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2.217" v="86933"/>
          <ac:graphicFrameMkLst>
            <pc:docMk/>
            <pc:sldMk cId="0" sldId="275"/>
            <ac:graphicFrameMk id="12613" creationId="{0FF9A180-AAFA-6469-647B-7D4D0C5E068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4.658" v="87604"/>
          <ac:graphicFrameMkLst>
            <pc:docMk/>
            <pc:sldMk cId="0" sldId="275"/>
            <ac:graphicFrameMk id="12615" creationId="{BF8A7964-2017-D829-6EC8-22A9607AC9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6.931" v="87733"/>
          <ac:graphicFrameMkLst>
            <pc:docMk/>
            <pc:sldMk cId="0" sldId="275"/>
            <ac:graphicFrameMk id="12627" creationId="{EE9A8FD3-C442-63B0-81DA-2ED5581F67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8.029" v="87860"/>
          <ac:graphicFrameMkLst>
            <pc:docMk/>
            <pc:sldMk cId="0" sldId="275"/>
            <ac:graphicFrameMk id="12629" creationId="{9E29992D-AC56-417E-5F2A-44E7117D7B9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26.098" v="88551"/>
          <ac:graphicFrameMkLst>
            <pc:docMk/>
            <pc:sldMk cId="0" sldId="275"/>
            <ac:graphicFrameMk id="12631" creationId="{8A99591B-510E-BF54-88C1-F712424ED3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29.335" v="88840"/>
          <ac:graphicFrameMkLst>
            <pc:docMk/>
            <pc:sldMk cId="0" sldId="275"/>
            <ac:graphicFrameMk id="12643" creationId="{A33571C9-1F02-7A9A-8F46-48CA83A77C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36.989" v="89043"/>
          <ac:graphicFrameMkLst>
            <pc:docMk/>
            <pc:sldMk cId="0" sldId="275"/>
            <ac:graphicFrameMk id="12645" creationId="{7C10F05F-D750-74AD-9091-F9CDC636253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1.430" v="89180"/>
          <ac:graphicFrameMkLst>
            <pc:docMk/>
            <pc:sldMk cId="0" sldId="275"/>
            <ac:graphicFrameMk id="12648" creationId="{1EBECBE4-3AF7-FBBB-4885-A670222E84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3.362" v="89304"/>
          <ac:graphicFrameMkLst>
            <pc:docMk/>
            <pc:sldMk cId="0" sldId="275"/>
            <ac:graphicFrameMk id="12650" creationId="{993B9D43-9680-C4CF-3DBF-1C82D7A425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4.348" v="89426"/>
          <ac:graphicFrameMkLst>
            <pc:docMk/>
            <pc:sldMk cId="0" sldId="275"/>
            <ac:graphicFrameMk id="12652" creationId="{B975BBA3-AAE2-31DA-FB60-53AB53EF04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5.760" v="89549"/>
          <ac:graphicFrameMkLst>
            <pc:docMk/>
            <pc:sldMk cId="0" sldId="275"/>
            <ac:graphicFrameMk id="12654" creationId="{91F42D89-0760-2283-E8FE-06FDC1543B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7.961" v="89670"/>
          <ac:graphicFrameMkLst>
            <pc:docMk/>
            <pc:sldMk cId="0" sldId="275"/>
            <ac:graphicFrameMk id="12656" creationId="{FD184482-A120-44E5-7405-BADCE325B5E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8.737" v="89791"/>
          <ac:graphicFrameMkLst>
            <pc:docMk/>
            <pc:sldMk cId="0" sldId="275"/>
            <ac:graphicFrameMk id="12658" creationId="{B9B4E1FD-9B49-A915-2C0B-3FCA6E3DD8B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0.820" v="89914"/>
          <ac:graphicFrameMkLst>
            <pc:docMk/>
            <pc:sldMk cId="0" sldId="275"/>
            <ac:graphicFrameMk id="12660" creationId="{331D677A-C364-C408-7C03-377CD62E163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2.687" v="90038"/>
          <ac:graphicFrameMkLst>
            <pc:docMk/>
            <pc:sldMk cId="0" sldId="275"/>
            <ac:graphicFrameMk id="12662" creationId="{CEA33834-0125-AAB3-E4B4-730B3412A1E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8" v="90158"/>
          <ac:graphicFrameMkLst>
            <pc:docMk/>
            <pc:sldMk cId="0" sldId="275"/>
            <ac:graphicFrameMk id="12664" creationId="{13EC6BE3-8E5E-421C-8AF3-ADD8D49BF6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4.038" v="90621"/>
          <ac:graphicFrameMkLst>
            <pc:docMk/>
            <pc:sldMk cId="0" sldId="275"/>
            <ac:graphicFrameMk id="12666" creationId="{49EBD5C4-0ACC-21D1-1CFD-AC99D4A8E82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4.844" v="90756"/>
          <ac:graphicFrameMkLst>
            <pc:docMk/>
            <pc:sldMk cId="0" sldId="275"/>
            <ac:graphicFrameMk id="12674" creationId="{D79F227E-DC84-CAB8-D99C-36AC0E6FF2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9.186" v="91219"/>
          <ac:graphicFrameMkLst>
            <pc:docMk/>
            <pc:sldMk cId="0" sldId="275"/>
            <ac:graphicFrameMk id="12676" creationId="{AEEAB4E5-E944-1AC7-00B1-FE189E6821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0.035" v="91354"/>
          <ac:graphicFrameMkLst>
            <pc:docMk/>
            <pc:sldMk cId="0" sldId="275"/>
            <ac:graphicFrameMk id="12684" creationId="{813C465D-924B-4832-9B09-B46540B9470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1.957" v="91477"/>
          <ac:graphicFrameMkLst>
            <pc:docMk/>
            <pc:sldMk cId="0" sldId="275"/>
            <ac:graphicFrameMk id="12686" creationId="{1755037E-4268-648E-0CB9-0CE3A850B1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7.285" v="91668"/>
          <ac:graphicFrameMkLst>
            <pc:docMk/>
            <pc:sldMk cId="0" sldId="275"/>
            <ac:graphicFrameMk id="12688" creationId="{F8982F19-A6B3-F428-1C5F-DEA56F08134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4.734" v="91812"/>
          <ac:graphicFrameMkLst>
            <pc:docMk/>
            <pc:sldMk cId="0" sldId="275"/>
            <ac:graphicFrameMk id="12691" creationId="{52B3AA25-0E69-83D5-6B7E-D833030D96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5.656" v="91933"/>
          <ac:graphicFrameMkLst>
            <pc:docMk/>
            <pc:sldMk cId="0" sldId="275"/>
            <ac:graphicFrameMk id="12693" creationId="{967EF612-E7DC-433D-D970-684B6ACC1AE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8.886" v="92056"/>
          <ac:graphicFrameMkLst>
            <pc:docMk/>
            <pc:sldMk cId="0" sldId="275"/>
            <ac:graphicFrameMk id="12695" creationId="{0A03E983-30E8-49A6-BEB8-F9BD9F4E788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41.055" v="92180"/>
          <ac:graphicFrameMkLst>
            <pc:docMk/>
            <pc:sldMk cId="0" sldId="275"/>
            <ac:graphicFrameMk id="12697" creationId="{FF92F0D6-D5A4-42EC-BF30-3DC1720BCA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44.215" v="92300"/>
          <ac:graphicFrameMkLst>
            <pc:docMk/>
            <pc:sldMk cId="0" sldId="275"/>
            <ac:graphicFrameMk id="12699" creationId="{1BC042ED-6D99-F591-9109-86ADBC22FD9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00.636" v="92520"/>
          <ac:graphicFrameMkLst>
            <pc:docMk/>
            <pc:sldMk cId="0" sldId="275"/>
            <ac:graphicFrameMk id="12701" creationId="{74BA1B6D-2D62-FD79-6D62-AA1B6729D8A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3:28.569" v="94247"/>
          <ac:graphicFrameMkLst>
            <pc:docMk/>
            <pc:sldMk cId="0" sldId="275"/>
            <ac:graphicFrameMk id="12705" creationId="{8C216068-1283-1FEC-9CDA-ED066F9738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3:18.354" v="94059"/>
          <ac:graphicFrameMkLst>
            <pc:docMk/>
            <pc:sldMk cId="0" sldId="275"/>
            <ac:graphicFrameMk id="12712" creationId="{316AE3B7-B78E-39FA-A2AC-ECE42CD4070E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43:18.464" v="94192"/>
          <ac:graphicFrameMkLst>
            <pc:docMk/>
            <pc:sldMk cId="0" sldId="275"/>
            <ac:graphicFrameMk id="12733" creationId="{FF195508-63D5-F6CA-C11D-C9855FEB9BFD}"/>
          </ac:graphicFrameMkLst>
        </pc:graphicFrameChg>
        <pc:picChg chg="add del mod">
          <ac:chgData name="vonWaldow, Ulrich" userId="c64b3fe1-2fbf-4408-adc4-30add62e991f" providerId="ADAL" clId="{B99A90B8-7D29-4456-AFD4-0F3DBA13A596}" dt="2024-08-27T12:43:47.951" v="94293" actId="478"/>
          <ac:picMkLst>
            <pc:docMk/>
            <pc:sldMk cId="0" sldId="275"/>
            <ac:picMk id="12290" creationId="{08A2B0C4-2765-1CC0-22F5-61EFD9E2A363}"/>
          </ac:picMkLst>
        </pc:picChg>
        <pc:picChg chg="add mod">
          <ac:chgData name="vonWaldow, Ulrich" userId="c64b3fe1-2fbf-4408-adc4-30add62e991f" providerId="ADAL" clId="{B99A90B8-7D29-4456-AFD4-0F3DBA13A596}" dt="2024-08-27T12:43:38.772" v="94292"/>
          <ac:picMkLst>
            <pc:docMk/>
            <pc:sldMk cId="0" sldId="275"/>
            <ac:picMk id="12751" creationId="{12E18CD5-4C22-1C33-77EA-A68B91F0878A}"/>
          </ac:picMkLst>
        </pc:picChg>
        <pc:cxnChg chg="add del mod ord replST">
          <ac:chgData name="vonWaldow, Ulrich" userId="c64b3fe1-2fbf-4408-adc4-30add62e991f" providerId="ADAL" clId="{B99A90B8-7D29-4456-AFD4-0F3DBA13A596}" dt="2024-08-27T12:41:58.793" v="92370"/>
          <ac:cxnSpMkLst>
            <pc:docMk/>
            <pc:sldMk cId="0" sldId="275"/>
            <ac:cxnSpMk id="45" creationId="{DEA3C903-3351-7D98-9BDF-DC06AC81F35E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13.625" v="71555"/>
          <ac:cxnSpMkLst>
            <pc:docMk/>
            <pc:sldMk cId="0" sldId="275"/>
            <ac:cxnSpMk id="12322" creationId="{013878E3-2288-B641-0B17-80FB007443E1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23.644" v="71854"/>
          <ac:cxnSpMkLst>
            <pc:docMk/>
            <pc:sldMk cId="0" sldId="275"/>
            <ac:cxnSpMk id="12328" creationId="{98892776-BEB9-79FB-0F1A-5C29A06C610E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35.277" v="71997"/>
          <ac:cxnSpMkLst>
            <pc:docMk/>
            <pc:sldMk cId="0" sldId="275"/>
            <ac:cxnSpMk id="12331" creationId="{9F53638E-D17C-7B19-19F1-0500A4637BB6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51.802" v="72140"/>
          <ac:cxnSpMkLst>
            <pc:docMk/>
            <pc:sldMk cId="0" sldId="275"/>
            <ac:cxnSpMk id="12334" creationId="{D904F4D5-2980-406E-EEE7-5EF54BBE0DA9}"/>
          </ac:cxnSpMkLst>
        </pc:cxnChg>
        <pc:cxnChg chg="add del mod ord replST">
          <ac:chgData name="vonWaldow, Ulrich" userId="c64b3fe1-2fbf-4408-adc4-30add62e991f" providerId="ADAL" clId="{B99A90B8-7D29-4456-AFD4-0F3DBA13A596}" dt="2024-08-27T12:32:17.955" v="72413"/>
          <ac:cxnSpMkLst>
            <pc:docMk/>
            <pc:sldMk cId="0" sldId="275"/>
            <ac:cxnSpMk id="12337" creationId="{23B7CFF9-6571-7654-FFB7-E00505EB2E88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96" v="79295"/>
          <ac:cxnSpMkLst>
            <pc:docMk/>
            <pc:sldMk cId="0" sldId="275"/>
            <ac:cxnSpMk id="12395" creationId="{6C6FC5E9-EC91-60F2-73FE-33ABEF0C1C82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6"/>
          <ac:cxnSpMkLst>
            <pc:docMk/>
            <pc:sldMk cId="0" sldId="275"/>
            <ac:cxnSpMk id="12396" creationId="{814E103F-CAAB-92D4-32BB-7AD83C03DD89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6"/>
          <ac:cxnSpMkLst>
            <pc:docMk/>
            <pc:sldMk cId="0" sldId="275"/>
            <ac:cxnSpMk id="12397" creationId="{0F9E3CC2-6EC5-DDD9-FE64-60D4EC9E786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3"/>
          <ac:cxnSpMkLst>
            <pc:docMk/>
            <pc:sldMk cId="0" sldId="275"/>
            <ac:cxnSpMk id="12398" creationId="{C93A04BF-22C2-8C1E-8651-A2956C43663A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0"/>
          <ac:cxnSpMkLst>
            <pc:docMk/>
            <pc:sldMk cId="0" sldId="275"/>
            <ac:cxnSpMk id="12399" creationId="{5CD551BD-0BDF-853C-16D0-26B8D52A78E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7"/>
          <ac:cxnSpMkLst>
            <pc:docMk/>
            <pc:sldMk cId="0" sldId="275"/>
            <ac:cxnSpMk id="12400" creationId="{7713DF65-785E-3EC3-8265-65BA6D8CA174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60"/>
          <ac:cxnSpMkLst>
            <pc:docMk/>
            <pc:sldMk cId="0" sldId="275"/>
            <ac:cxnSpMk id="12401" creationId="{5E91D57E-5DF6-5A0A-28DE-9D02491E1906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4"/>
          <ac:cxnSpMkLst>
            <pc:docMk/>
            <pc:sldMk cId="0" sldId="275"/>
            <ac:cxnSpMk id="12402" creationId="{285DBD25-FA71-90A6-B73E-4149D4C46D8A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1"/>
          <ac:cxnSpMkLst>
            <pc:docMk/>
            <pc:sldMk cId="0" sldId="275"/>
            <ac:cxnSpMk id="12403" creationId="{EB10EACF-BC2C-B3C9-3D0E-9853FBAFBFB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38"/>
          <ac:cxnSpMkLst>
            <pc:docMk/>
            <pc:sldMk cId="0" sldId="275"/>
            <ac:cxnSpMk id="12404" creationId="{C2539745-2124-0730-9C7E-A6A994EE21D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79" v="79605"/>
          <ac:cxnSpMkLst>
            <pc:docMk/>
            <pc:sldMk cId="0" sldId="275"/>
            <ac:cxnSpMk id="12433" creationId="{5C67B7CA-4CC9-7CB2-2CCF-7ADDEC7A290F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7"/>
          <ac:cxnSpMkLst>
            <pc:docMk/>
            <pc:sldMk cId="0" sldId="275"/>
            <ac:cxnSpMk id="12434" creationId="{CE810B27-AEA4-AE2B-75FE-BFAE77466A25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79" v="79607"/>
          <ac:cxnSpMkLst>
            <pc:docMk/>
            <pc:sldMk cId="0" sldId="275"/>
            <ac:cxnSpMk id="12435" creationId="{5061B3D7-2920-316F-EFD5-DCC451E6562B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4"/>
          <ac:cxnSpMkLst>
            <pc:docMk/>
            <pc:sldMk cId="0" sldId="275"/>
            <ac:cxnSpMk id="12436" creationId="{0CA01527-081C-BC74-FC39-B01E35C7D3A3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1"/>
          <ac:cxnSpMkLst>
            <pc:docMk/>
            <pc:sldMk cId="0" sldId="275"/>
            <ac:cxnSpMk id="12437" creationId="{58205FAE-3A69-F95B-0895-3945C849BB0D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8"/>
          <ac:cxnSpMkLst>
            <pc:docMk/>
            <pc:sldMk cId="0" sldId="275"/>
            <ac:cxnSpMk id="12438" creationId="{9EA98601-8013-E08C-5F75-A6975584183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5"/>
          <ac:cxnSpMkLst>
            <pc:docMk/>
            <pc:sldMk cId="0" sldId="275"/>
            <ac:cxnSpMk id="12439" creationId="{BF301DD6-F8EF-A987-92D6-83302867F59D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2"/>
          <ac:cxnSpMkLst>
            <pc:docMk/>
            <pc:sldMk cId="0" sldId="275"/>
            <ac:cxnSpMk id="12440" creationId="{8B12712D-C7E4-065D-7C78-3EABC08790DE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9"/>
          <ac:cxnSpMkLst>
            <pc:docMk/>
            <pc:sldMk cId="0" sldId="275"/>
            <ac:cxnSpMk id="12446" creationId="{221B4C38-B112-510E-E235-DBF157F0811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00.987" v="77311"/>
          <ac:cxnSpMkLst>
            <pc:docMk/>
            <pc:sldMk cId="0" sldId="275"/>
            <ac:cxnSpMk id="12453" creationId="{A1EEBAD4-9BA9-28FC-DF04-CFBF19983009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00.987" v="77308"/>
          <ac:cxnSpMkLst>
            <pc:docMk/>
            <pc:sldMk cId="0" sldId="275"/>
            <ac:cxnSpMk id="12454" creationId="{AC792ACF-5EA3-5AE2-ADC2-B23A65DC37B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62"/>
          <ac:cxnSpMkLst>
            <pc:docMk/>
            <pc:sldMk cId="0" sldId="275"/>
            <ac:cxnSpMk id="12462" creationId="{97EEBBF0-EB9A-1030-7257-35F69FFE0A6E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65"/>
          <ac:cxnSpMkLst>
            <pc:docMk/>
            <pc:sldMk cId="0" sldId="275"/>
            <ac:cxnSpMk id="12466" creationId="{6082EF04-52CF-F659-490F-3F015BDF65B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9"/>
          <ac:cxnSpMkLst>
            <pc:docMk/>
            <pc:sldMk cId="0" sldId="275"/>
            <ac:cxnSpMk id="12473" creationId="{9AFD45D7-765E-3278-F4C5-16908422FB3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3"/>
          <ac:cxnSpMkLst>
            <pc:docMk/>
            <pc:sldMk cId="0" sldId="275"/>
            <ac:cxnSpMk id="12474" creationId="{3E0FA5E2-C8C2-F2A9-73E0-5D7AC8845BDF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57"/>
          <ac:cxnSpMkLst>
            <pc:docMk/>
            <pc:sldMk cId="0" sldId="275"/>
            <ac:cxnSpMk id="12475" creationId="{1D7048B0-38F0-68BC-8BCA-C3BB3A7D4B70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54"/>
          <ac:cxnSpMkLst>
            <pc:docMk/>
            <pc:sldMk cId="0" sldId="275"/>
            <ac:cxnSpMk id="12476" creationId="{64837CE5-BC6F-7998-56B9-C421A429D569}"/>
          </ac:cxnSpMkLst>
        </pc:cxnChg>
        <pc:cxnChg chg="add del mod ord replST">
          <ac:chgData name="vonWaldow, Ulrich" userId="c64b3fe1-2fbf-4408-adc4-30add62e991f" providerId="ADAL" clId="{B99A90B8-7D29-4456-AFD4-0F3DBA13A596}" dt="2024-08-27T12:43:28.555" v="94232"/>
          <ac:cxnSpMkLst>
            <pc:docMk/>
            <pc:sldMk cId="0" sldId="275"/>
            <ac:cxnSpMk id="12706" creationId="{9B3D7441-16E0-D198-8426-7169E53F8C82}"/>
          </ac:cxnSpMkLst>
        </pc:cxnChg>
        <pc:cxnChg chg="add mod ord replST">
          <ac:chgData name="vonWaldow, Ulrich" userId="c64b3fe1-2fbf-4408-adc4-30add62e991f" providerId="ADAL" clId="{B99A90B8-7D29-4456-AFD4-0F3DBA13A596}" dt="2024-08-27T12:43:18.480" v="94206"/>
          <ac:cxnSpMkLst>
            <pc:docMk/>
            <pc:sldMk cId="0" sldId="275"/>
            <ac:cxnSpMk id="12725" creationId="{00B1BCF9-78D5-47E8-3A61-BE8F0438BDAF}"/>
          </ac:cxnSpMkLst>
        </pc:cxnChg>
      </pc:sldChg>
      <pc:sldChg chg="addSp delSp modSp mod">
        <pc:chgData name="vonWaldow, Ulrich" userId="c64b3fe1-2fbf-4408-adc4-30add62e991f" providerId="ADAL" clId="{B99A90B8-7D29-4456-AFD4-0F3DBA13A596}" dt="2024-08-27T13:01:56.525" v="104029" actId="20577"/>
        <pc:sldMkLst>
          <pc:docMk/>
          <pc:sldMk cId="0" sldId="276"/>
        </pc:sldMkLst>
        <pc:spChg chg="mod ord">
          <ac:chgData name="vonWaldow, Ulrich" userId="c64b3fe1-2fbf-4408-adc4-30add62e991f" providerId="ADAL" clId="{B99A90B8-7D29-4456-AFD4-0F3DBA13A596}" dt="2024-08-27T12:51:34.942" v="103557"/>
          <ac:spMkLst>
            <pc:docMk/>
            <pc:sldMk cId="0" sldId="276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59"/>
          <ac:spMkLst>
            <pc:docMk/>
            <pc:sldMk cId="0" sldId="276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1"/>
          <ac:spMkLst>
            <pc:docMk/>
            <pc:sldMk cId="0" sldId="276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3"/>
          <ac:spMkLst>
            <pc:docMk/>
            <pc:sldMk cId="0" sldId="276"/>
            <ac:spMk id="5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2:45:10.018" v="94332" actId="478"/>
          <ac:spMkLst>
            <pc:docMk/>
            <pc:sldMk cId="0" sldId="276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5"/>
          <ac:spMkLst>
            <pc:docMk/>
            <pc:sldMk cId="0" sldId="276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7"/>
          <ac:spMkLst>
            <pc:docMk/>
            <pc:sldMk cId="0" sldId="276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9"/>
          <ac:spMkLst>
            <pc:docMk/>
            <pc:sldMk cId="0" sldId="276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71"/>
          <ac:spMkLst>
            <pc:docMk/>
            <pc:sldMk cId="0" sldId="276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73"/>
          <ac:spMkLst>
            <pc:docMk/>
            <pc:sldMk cId="0" sldId="276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6:37.593" v="103607" actId="20577"/>
          <ac:spMkLst>
            <pc:docMk/>
            <pc:sldMk cId="0" sldId="276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6:51.282" v="103649" actId="20577"/>
          <ac:spMkLst>
            <pc:docMk/>
            <pc:sldMk cId="0" sldId="276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9:30.971" v="103744" actId="20577"/>
          <ac:spMkLst>
            <pc:docMk/>
            <pc:sldMk cId="0" sldId="276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9:38.174" v="103748" actId="20577"/>
          <ac:spMkLst>
            <pc:docMk/>
            <pc:sldMk cId="0" sldId="276"/>
            <ac:spMk id="15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3:00:51.288" v="103761" actId="20577"/>
          <ac:spMkLst>
            <pc:docMk/>
            <pc:sldMk cId="0" sldId="276"/>
            <ac:spMk id="1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3:01:56.525" v="104029" actId="20577"/>
          <ac:spMkLst>
            <pc:docMk/>
            <pc:sldMk cId="0" sldId="276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2:43:55.515" v="94316"/>
          <ac:spMkLst>
            <pc:docMk/>
            <pc:sldMk cId="0" sldId="276"/>
            <ac:spMk id="18" creationId="{023121B5-58B9-15A5-EDA7-D7D394B19D43}"/>
          </ac:spMkLst>
        </pc:spChg>
        <pc:spChg chg="add mod ord">
          <ac:chgData name="vonWaldow, Ulrich" userId="c64b3fe1-2fbf-4408-adc4-30add62e991f" providerId="ADAL" clId="{B99A90B8-7D29-4456-AFD4-0F3DBA13A596}" dt="2024-08-27T12:51:34.942" v="103587"/>
          <ac:spMkLst>
            <pc:docMk/>
            <pc:sldMk cId="0" sldId="276"/>
            <ac:spMk id="21" creationId="{F29FD844-CFDE-D177-C3A7-5E44EE119C52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89"/>
          <ac:spMkLst>
            <pc:docMk/>
            <pc:sldMk cId="0" sldId="276"/>
            <ac:spMk id="2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5:27.635" v="95406"/>
          <ac:spMkLst>
            <pc:docMk/>
            <pc:sldMk cId="0" sldId="276"/>
            <ac:spMk id="25" creationId="{20D03F78-E3A0-18A6-4AD2-3A58D51C76A8}"/>
          </ac:spMkLst>
        </pc:spChg>
        <pc:spChg chg="add del mod replST">
          <ac:chgData name="vonWaldow, Ulrich" userId="c64b3fe1-2fbf-4408-adc4-30add62e991f" providerId="ADAL" clId="{B99A90B8-7D29-4456-AFD4-0F3DBA13A596}" dt="2024-08-27T12:45:55.829" v="95590"/>
          <ac:spMkLst>
            <pc:docMk/>
            <pc:sldMk cId="0" sldId="276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55.829" v="95592"/>
          <ac:spMkLst>
            <pc:docMk/>
            <pc:sldMk cId="0" sldId="276"/>
            <ac:spMk id="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9:36.854" v="101547"/>
          <ac:spMkLst>
            <pc:docMk/>
            <pc:sldMk cId="0" sldId="276"/>
            <ac:spMk id="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29.874" v="95423"/>
          <ac:spMkLst>
            <pc:docMk/>
            <pc:sldMk cId="0" sldId="276"/>
            <ac:spMk id="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29.874" v="95426"/>
          <ac:spMkLst>
            <pc:docMk/>
            <pc:sldMk cId="0" sldId="276"/>
            <ac:spMk id="30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0"/>
          <ac:spMkLst>
            <pc:docMk/>
            <pc:sldMk cId="0" sldId="276"/>
            <ac:spMk id="31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6"/>
          <ac:spMkLst>
            <pc:docMk/>
            <pc:sldMk cId="0" sldId="276"/>
            <ac:spMk id="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" v="95486"/>
          <ac:spMkLst>
            <pc:docMk/>
            <pc:sldMk cId="0" sldId="276"/>
            <ac:spMk id="33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2"/>
          <ac:spMkLst>
            <pc:docMk/>
            <pc:sldMk cId="0" sldId="276"/>
            <ac:spMk id="34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74" v="95418"/>
          <ac:spMkLst>
            <pc:docMk/>
            <pc:sldMk cId="0" sldId="276"/>
            <ac:spMk id="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.007" v="95489"/>
          <ac:spMkLst>
            <pc:docMk/>
            <pc:sldMk cId="0" sldId="276"/>
            <ac:spMk id="36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4"/>
          <ac:spMkLst>
            <pc:docMk/>
            <pc:sldMk cId="0" sldId="276"/>
            <ac:spMk id="3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74" v="95420"/>
          <ac:spMkLst>
            <pc:docMk/>
            <pc:sldMk cId="0" sldId="276"/>
            <ac:spMk id="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.007" v="95492"/>
          <ac:spMkLst>
            <pc:docMk/>
            <pc:sldMk cId="0" sldId="276"/>
            <ac:spMk id="3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5:30.062" v="95549"/>
          <ac:spMkLst>
            <pc:docMk/>
            <pc:sldMk cId="0" sldId="276"/>
            <ac:spMk id="47" creationId="{E49624C3-A32D-F8D8-E442-FB483FBBCA1A}"/>
          </ac:spMkLst>
        </pc:spChg>
        <pc:spChg chg="add del mod modVis">
          <ac:chgData name="vonWaldow, Ulrich" userId="c64b3fe1-2fbf-4408-adc4-30add62e991f" providerId="ADAL" clId="{B99A90B8-7D29-4456-AFD4-0F3DBA13A596}" dt="2024-08-27T12:45:55.860" v="95647"/>
          <ac:spMkLst>
            <pc:docMk/>
            <pc:sldMk cId="0" sldId="276"/>
            <ac:spMk id="49" creationId="{C4B1CEBD-31D6-39F5-564C-0D006C942B70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0"/>
          <ac:spMkLst>
            <pc:docMk/>
            <pc:sldMk cId="0" sldId="276"/>
            <ac:spMk id="51" creationId="{174EB8DB-50C6-109E-9670-6879A6654E97}"/>
          </ac:spMkLst>
        </pc:spChg>
        <pc:spChg chg="add del mod modVis">
          <ac:chgData name="vonWaldow, Ulrich" userId="c64b3fe1-2fbf-4408-adc4-30add62e991f" providerId="ADAL" clId="{B99A90B8-7D29-4456-AFD4-0F3DBA13A596}" dt="2024-08-27T12:45:59.156" v="95740"/>
          <ac:spMkLst>
            <pc:docMk/>
            <pc:sldMk cId="0" sldId="276"/>
            <ac:spMk id="52" creationId="{C1C9A538-FB1D-C921-8679-ED58A7D82EA1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1"/>
          <ac:spMkLst>
            <pc:docMk/>
            <pc:sldMk cId="0" sldId="276"/>
            <ac:spMk id="54" creationId="{8CF81D51-AF66-3B4A-4BDC-E6EE467A585F}"/>
          </ac:spMkLst>
        </pc:spChg>
        <pc:spChg chg="add del mod modVis">
          <ac:chgData name="vonWaldow, Ulrich" userId="c64b3fe1-2fbf-4408-adc4-30add62e991f" providerId="ADAL" clId="{B99A90B8-7D29-4456-AFD4-0F3DBA13A596}" dt="2024-08-27T12:46:03.544" v="95835"/>
          <ac:spMkLst>
            <pc:docMk/>
            <pc:sldMk cId="0" sldId="276"/>
            <ac:spMk id="55" creationId="{49CCD417-043F-7143-81E4-CC55722BF41D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2"/>
          <ac:spMkLst>
            <pc:docMk/>
            <pc:sldMk cId="0" sldId="276"/>
            <ac:spMk id="57" creationId="{450AB4BB-1B42-A95C-9456-A6648A9241A2}"/>
          </ac:spMkLst>
        </pc:spChg>
        <pc:spChg chg="add del mod modVis">
          <ac:chgData name="vonWaldow, Ulrich" userId="c64b3fe1-2fbf-4408-adc4-30add62e991f" providerId="ADAL" clId="{B99A90B8-7D29-4456-AFD4-0F3DBA13A596}" dt="2024-08-27T12:46:05.906" v="95939"/>
          <ac:spMkLst>
            <pc:docMk/>
            <pc:sldMk cId="0" sldId="276"/>
            <ac:spMk id="58" creationId="{5406CE10-0B9A-68ED-BF3E-D2E55E224096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3"/>
          <ac:spMkLst>
            <pc:docMk/>
            <pc:sldMk cId="0" sldId="276"/>
            <ac:spMk id="60" creationId="{5539A626-CD72-B45B-C805-01D636BDFF49}"/>
          </ac:spMkLst>
        </pc:spChg>
        <pc:spChg chg="add del mod modVis">
          <ac:chgData name="vonWaldow, Ulrich" userId="c64b3fe1-2fbf-4408-adc4-30add62e991f" providerId="ADAL" clId="{B99A90B8-7D29-4456-AFD4-0F3DBA13A596}" dt="2024-08-27T12:46:17.757" v="96050"/>
          <ac:spMkLst>
            <pc:docMk/>
            <pc:sldMk cId="0" sldId="276"/>
            <ac:spMk id="61" creationId="{D42426DF-D3D8-F3E3-D3F7-52114B819F8B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4"/>
          <ac:spMkLst>
            <pc:docMk/>
            <pc:sldMk cId="0" sldId="276"/>
            <ac:spMk id="63" creationId="{C98D9C76-08B3-3400-932E-6F33A80DCFC1}"/>
          </ac:spMkLst>
        </pc:spChg>
        <pc:spChg chg="add del mod modVis">
          <ac:chgData name="vonWaldow, Ulrich" userId="c64b3fe1-2fbf-4408-adc4-30add62e991f" providerId="ADAL" clId="{B99A90B8-7D29-4456-AFD4-0F3DBA13A596}" dt="2024-08-27T12:46:26.464" v="96162"/>
          <ac:spMkLst>
            <pc:docMk/>
            <pc:sldMk cId="0" sldId="276"/>
            <ac:spMk id="64" creationId="{E1CEACDF-F818-5E53-DDBA-9A900D7B01B7}"/>
          </ac:spMkLst>
        </pc:spChg>
        <pc:spChg chg="add del mod modVis">
          <ac:chgData name="vonWaldow, Ulrich" userId="c64b3fe1-2fbf-4408-adc4-30add62e991f" providerId="ADAL" clId="{B99A90B8-7D29-4456-AFD4-0F3DBA13A596}" dt="2024-08-27T12:46:43.356" v="96261"/>
          <ac:spMkLst>
            <pc:docMk/>
            <pc:sldMk cId="0" sldId="276"/>
            <ac:spMk id="66" creationId="{F660BA30-6CC5-1544-8410-4688F20915C9}"/>
          </ac:spMkLst>
        </pc:spChg>
        <pc:spChg chg="add del mod modVis">
          <ac:chgData name="vonWaldow, Ulrich" userId="c64b3fe1-2fbf-4408-adc4-30add62e991f" providerId="ADAL" clId="{B99A90B8-7D29-4456-AFD4-0F3DBA13A596}" dt="2024-08-27T12:46:46.965" v="96355"/>
          <ac:spMkLst>
            <pc:docMk/>
            <pc:sldMk cId="0" sldId="276"/>
            <ac:spMk id="68" creationId="{339EDD74-173C-EE3D-658D-0105C7BEB31C}"/>
          </ac:spMkLst>
        </pc:spChg>
        <pc:spChg chg="add del mod modVis">
          <ac:chgData name="vonWaldow, Ulrich" userId="c64b3fe1-2fbf-4408-adc4-30add62e991f" providerId="ADAL" clId="{B99A90B8-7D29-4456-AFD4-0F3DBA13A596}" dt="2024-08-27T12:47:05.363" v="96449"/>
          <ac:spMkLst>
            <pc:docMk/>
            <pc:sldMk cId="0" sldId="276"/>
            <ac:spMk id="70" creationId="{9217DD29-0B58-8E05-243C-256D50486023}"/>
          </ac:spMkLst>
        </pc:spChg>
        <pc:spChg chg="add del mod modVis">
          <ac:chgData name="vonWaldow, Ulrich" userId="c64b3fe1-2fbf-4408-adc4-30add62e991f" providerId="ADAL" clId="{B99A90B8-7D29-4456-AFD4-0F3DBA13A596}" dt="2024-08-27T12:47:08.770" v="96538"/>
          <ac:spMkLst>
            <pc:docMk/>
            <pc:sldMk cId="0" sldId="276"/>
            <ac:spMk id="72" creationId="{3925101E-2459-7132-B050-939F27D2747A}"/>
          </ac:spMkLst>
        </pc:spChg>
        <pc:spChg chg="add del mod modVis">
          <ac:chgData name="vonWaldow, Ulrich" userId="c64b3fe1-2fbf-4408-adc4-30add62e991f" providerId="ADAL" clId="{B99A90B8-7D29-4456-AFD4-0F3DBA13A596}" dt="2024-08-27T12:47:19.438" v="96637"/>
          <ac:spMkLst>
            <pc:docMk/>
            <pc:sldMk cId="0" sldId="276"/>
            <ac:spMk id="74" creationId="{AC16D776-0AE1-8FE0-EF28-B955F7788C35}"/>
          </ac:spMkLst>
        </pc:spChg>
        <pc:spChg chg="add del mod modVis">
          <ac:chgData name="vonWaldow, Ulrich" userId="c64b3fe1-2fbf-4408-adc4-30add62e991f" providerId="ADAL" clId="{B99A90B8-7D29-4456-AFD4-0F3DBA13A596}" dt="2024-08-27T12:47:25.339" v="96734"/>
          <ac:spMkLst>
            <pc:docMk/>
            <pc:sldMk cId="0" sldId="276"/>
            <ac:spMk id="76" creationId="{655A8026-85A4-1A87-C697-7C13F63FE0B9}"/>
          </ac:spMkLst>
        </pc:spChg>
        <pc:spChg chg="add del mod modVis">
          <ac:chgData name="vonWaldow, Ulrich" userId="c64b3fe1-2fbf-4408-adc4-30add62e991f" providerId="ADAL" clId="{B99A90B8-7D29-4456-AFD4-0F3DBA13A596}" dt="2024-08-27T12:47:29.683" v="96814"/>
          <ac:spMkLst>
            <pc:docMk/>
            <pc:sldMk cId="0" sldId="276"/>
            <ac:spMk id="78" creationId="{3C3F285A-7CF0-CDFE-8CE5-3CECA6AC4E98}"/>
          </ac:spMkLst>
        </pc:spChg>
        <pc:spChg chg="add del mod modVis">
          <ac:chgData name="vonWaldow, Ulrich" userId="c64b3fe1-2fbf-4408-adc4-30add62e991f" providerId="ADAL" clId="{B99A90B8-7D29-4456-AFD4-0F3DBA13A596}" dt="2024-08-27T12:47:31.238" v="96894"/>
          <ac:spMkLst>
            <pc:docMk/>
            <pc:sldMk cId="0" sldId="276"/>
            <ac:spMk id="80" creationId="{D7419D43-E5F8-08D6-2C67-362E308AC374}"/>
          </ac:spMkLst>
        </pc:spChg>
        <pc:spChg chg="add del mod modVis">
          <ac:chgData name="vonWaldow, Ulrich" userId="c64b3fe1-2fbf-4408-adc4-30add62e991f" providerId="ADAL" clId="{B99A90B8-7D29-4456-AFD4-0F3DBA13A596}" dt="2024-08-27T12:47:32.686" v="96974"/>
          <ac:spMkLst>
            <pc:docMk/>
            <pc:sldMk cId="0" sldId="276"/>
            <ac:spMk id="82" creationId="{270D887B-21B4-B90A-9888-947A26F8CCF4}"/>
          </ac:spMkLst>
        </pc:spChg>
        <pc:spChg chg="add del mod modVis">
          <ac:chgData name="vonWaldow, Ulrich" userId="c64b3fe1-2fbf-4408-adc4-30add62e991f" providerId="ADAL" clId="{B99A90B8-7D29-4456-AFD4-0F3DBA13A596}" dt="2024-08-27T12:47:34.360" v="97054"/>
          <ac:spMkLst>
            <pc:docMk/>
            <pc:sldMk cId="0" sldId="276"/>
            <ac:spMk id="84" creationId="{29625324-ACFE-3732-33D2-C9A482D8A91A}"/>
          </ac:spMkLst>
        </pc:spChg>
        <pc:spChg chg="add del mod modVis">
          <ac:chgData name="vonWaldow, Ulrich" userId="c64b3fe1-2fbf-4408-adc4-30add62e991f" providerId="ADAL" clId="{B99A90B8-7D29-4456-AFD4-0F3DBA13A596}" dt="2024-08-27T12:47:35.458" v="97134"/>
          <ac:spMkLst>
            <pc:docMk/>
            <pc:sldMk cId="0" sldId="276"/>
            <ac:spMk id="86" creationId="{8E51E54E-175A-7F12-397F-BC8B05103458}"/>
          </ac:spMkLst>
        </pc:spChg>
        <pc:spChg chg="add del mod modVis">
          <ac:chgData name="vonWaldow, Ulrich" userId="c64b3fe1-2fbf-4408-adc4-30add62e991f" providerId="ADAL" clId="{B99A90B8-7D29-4456-AFD4-0F3DBA13A596}" dt="2024-08-27T12:47:36.392" v="97214"/>
          <ac:spMkLst>
            <pc:docMk/>
            <pc:sldMk cId="0" sldId="276"/>
            <ac:spMk id="88" creationId="{1967720E-E495-24E1-5043-19098C046783}"/>
          </ac:spMkLst>
        </pc:spChg>
        <pc:spChg chg="add del mod replST">
          <ac:chgData name="vonWaldow, Ulrich" userId="c64b3fe1-2fbf-4408-adc4-30add62e991f" providerId="ADAL" clId="{B99A90B8-7D29-4456-AFD4-0F3DBA13A596}" dt="2024-08-27T12:48:05.938" v="99029"/>
          <ac:spMkLst>
            <pc:docMk/>
            <pc:sldMk cId="0" sldId="276"/>
            <ac:spMk id="90" creationId="{50D473D0-759D-7F3E-0058-B94B99149040}"/>
          </ac:spMkLst>
        </pc:spChg>
        <pc:spChg chg="add del mod modVis">
          <ac:chgData name="vonWaldow, Ulrich" userId="c64b3fe1-2fbf-4408-adc4-30add62e991f" providerId="ADAL" clId="{B99A90B8-7D29-4456-AFD4-0F3DBA13A596}" dt="2024-08-27T12:47:54.713" v="97560"/>
          <ac:spMkLst>
            <pc:docMk/>
            <pc:sldMk cId="0" sldId="276"/>
            <ac:spMk id="91" creationId="{901CBFB5-E93D-90BA-F1EA-140BCBFD53BD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1"/>
          <ac:spMkLst>
            <pc:docMk/>
            <pc:sldMk cId="0" sldId="276"/>
            <ac:spMk id="9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16"/>
          <ac:spMkLst>
            <pc:docMk/>
            <pc:sldMk cId="0" sldId="276"/>
            <ac:spMk id="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56"/>
          <ac:spMkLst>
            <pc:docMk/>
            <pc:sldMk cId="0" sldId="276"/>
            <ac:spMk id="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7:58.938" v="98440"/>
          <ac:spMkLst>
            <pc:docMk/>
            <pc:sldMk cId="0" sldId="276"/>
            <ac:spMk id="99" creationId="{DE60A077-F3F8-DA61-6EB4-4840CB00D9A4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18"/>
          <ac:spMkLst>
            <pc:docMk/>
            <pc:sldMk cId="0" sldId="276"/>
            <ac:spMk id="100" creationId="{CA59D538-317E-72E3-4B33-2A921A927ACC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3"/>
          <ac:spMkLst>
            <pc:docMk/>
            <pc:sldMk cId="0" sldId="276"/>
            <ac:spMk id="101" creationId="{3ABFDCA7-B10C-0B82-53A2-5136883F25B3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20"/>
          <ac:spMkLst>
            <pc:docMk/>
            <pc:sldMk cId="0" sldId="276"/>
            <ac:spMk id="102" creationId="{051BE5D7-3DD1-D61C-AB14-1E1911EF7B9E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5"/>
          <ac:spMkLst>
            <pc:docMk/>
            <pc:sldMk cId="0" sldId="276"/>
            <ac:spMk id="103" creationId="{D488111A-DB01-7E25-94A4-2176A635AAAA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22"/>
          <ac:spMkLst>
            <pc:docMk/>
            <pc:sldMk cId="0" sldId="276"/>
            <ac:spMk id="104" creationId="{CA9814A1-EEE7-7AFE-AB47-74CDA514D4C2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7"/>
          <ac:spMkLst>
            <pc:docMk/>
            <pc:sldMk cId="0" sldId="276"/>
            <ac:spMk id="105" creationId="{37913AA0-3647-784C-0778-214D5C960E35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24"/>
          <ac:spMkLst>
            <pc:docMk/>
            <pc:sldMk cId="0" sldId="276"/>
            <ac:spMk id="106" creationId="{E7C3EFC8-60FA-CC7B-17CF-2F8B3A696954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9"/>
          <ac:spMkLst>
            <pc:docMk/>
            <pc:sldMk cId="0" sldId="276"/>
            <ac:spMk id="107" creationId="{F1A46A85-272B-4146-302A-13C1D8CA061C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26"/>
          <ac:spMkLst>
            <pc:docMk/>
            <pc:sldMk cId="0" sldId="276"/>
            <ac:spMk id="108" creationId="{DA3C7703-B8C4-4515-45C2-F218A019197B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41"/>
          <ac:spMkLst>
            <pc:docMk/>
            <pc:sldMk cId="0" sldId="276"/>
            <ac:spMk id="109" creationId="{9EC9121A-E357-2161-56BE-103C7FDDD6B7}"/>
          </ac:spMkLst>
        </pc:spChg>
        <pc:spChg chg="add del mod modVis">
          <ac:chgData name="vonWaldow, Ulrich" userId="c64b3fe1-2fbf-4408-adc4-30add62e991f" providerId="ADAL" clId="{B99A90B8-7D29-4456-AFD4-0F3DBA13A596}" dt="2024-08-27T12:47:57.229" v="98436"/>
          <ac:spMkLst>
            <pc:docMk/>
            <pc:sldMk cId="0" sldId="276"/>
            <ac:spMk id="110" creationId="{38E8481D-C128-54E4-C0DE-2725AF5DFE69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59"/>
          <ac:spMkLst>
            <pc:docMk/>
            <pc:sldMk cId="0" sldId="276"/>
            <ac:spMk id="11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62"/>
          <ac:spMkLst>
            <pc:docMk/>
            <pc:sldMk cId="0" sldId="276"/>
            <ac:spMk id="11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65"/>
          <ac:spMkLst>
            <pc:docMk/>
            <pc:sldMk cId="0" sldId="276"/>
            <ac:spMk id="11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68"/>
          <ac:spMkLst>
            <pc:docMk/>
            <pc:sldMk cId="0" sldId="276"/>
            <ac:spMk id="11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71"/>
          <ac:spMkLst>
            <pc:docMk/>
            <pc:sldMk cId="0" sldId="276"/>
            <ac:spMk id="11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7:58.938" v="98439"/>
          <ac:spMkLst>
            <pc:docMk/>
            <pc:sldMk cId="0" sldId="276"/>
            <ac:spMk id="11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8:04.936" v="99012"/>
          <ac:spMkLst>
            <pc:docMk/>
            <pc:sldMk cId="0" sldId="276"/>
            <ac:spMk id="124" creationId="{4982D5A7-0942-2F98-9599-098BE5370337}"/>
          </ac:spMkLst>
        </pc:spChg>
        <pc:spChg chg="add del mod modVis">
          <ac:chgData name="vonWaldow, Ulrich" userId="c64b3fe1-2fbf-4408-adc4-30add62e991f" providerId="ADAL" clId="{B99A90B8-7D29-4456-AFD4-0F3DBA13A596}" dt="2024-08-27T12:48:13.916" v="99219"/>
          <ac:spMkLst>
            <pc:docMk/>
            <pc:sldMk cId="0" sldId="276"/>
            <ac:spMk id="127" creationId="{125A084C-9712-2D50-27AD-E575DD28BB30}"/>
          </ac:spMkLst>
        </pc:spChg>
        <pc:spChg chg="add del mod modVis">
          <ac:chgData name="vonWaldow, Ulrich" userId="c64b3fe1-2fbf-4408-adc4-30add62e991f" providerId="ADAL" clId="{B99A90B8-7D29-4456-AFD4-0F3DBA13A596}" dt="2024-08-27T12:48:36.129" v="99689"/>
          <ac:spMkLst>
            <pc:docMk/>
            <pc:sldMk cId="0" sldId="276"/>
            <ac:spMk id="132" creationId="{1295AD81-E44C-7923-0153-80AD99048757}"/>
          </ac:spMkLst>
        </pc:spChg>
        <pc:spChg chg="add del mod replST">
          <ac:chgData name="vonWaldow, Ulrich" userId="c64b3fe1-2fbf-4408-adc4-30add62e991f" providerId="ADAL" clId="{B99A90B8-7D29-4456-AFD4-0F3DBA13A596}" dt="2024-08-27T12:48:39.322" v="99837"/>
          <ac:spMkLst>
            <pc:docMk/>
            <pc:sldMk cId="0" sldId="276"/>
            <ac:spMk id="13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8:37.752" v="99825"/>
          <ac:spMkLst>
            <pc:docMk/>
            <pc:sldMk cId="0" sldId="276"/>
            <ac:spMk id="135" creationId="{15A46DA0-383E-A940-F954-E992B6EFB440}"/>
          </ac:spMkLst>
        </pc:spChg>
        <pc:spChg chg="add del mod modVis">
          <ac:chgData name="vonWaldow, Ulrich" userId="c64b3fe1-2fbf-4408-adc4-30add62e991f" providerId="ADAL" clId="{B99A90B8-7D29-4456-AFD4-0F3DBA13A596}" dt="2024-08-27T12:48:45.003" v="100129"/>
          <ac:spMkLst>
            <pc:docMk/>
            <pc:sldMk cId="0" sldId="276"/>
            <ac:spMk id="138" creationId="{9831D0A4-803E-C8A5-653E-90F3A7E66C56}"/>
          </ac:spMkLst>
        </pc:spChg>
        <pc:spChg chg="add del mod modVis">
          <ac:chgData name="vonWaldow, Ulrich" userId="c64b3fe1-2fbf-4408-adc4-30add62e991f" providerId="ADAL" clId="{B99A90B8-7D29-4456-AFD4-0F3DBA13A596}" dt="2024-08-27T12:48:51.122" v="100219"/>
          <ac:spMkLst>
            <pc:docMk/>
            <pc:sldMk cId="0" sldId="276"/>
            <ac:spMk id="140" creationId="{6A62A05D-2325-C3E1-B33C-8966C5974A15}"/>
          </ac:spMkLst>
        </pc:spChg>
        <pc:spChg chg="add del mod modVis">
          <ac:chgData name="vonWaldow, Ulrich" userId="c64b3fe1-2fbf-4408-adc4-30add62e991f" providerId="ADAL" clId="{B99A90B8-7D29-4456-AFD4-0F3DBA13A596}" dt="2024-08-27T12:48:58.726" v="100426"/>
          <ac:spMkLst>
            <pc:docMk/>
            <pc:sldMk cId="0" sldId="276"/>
            <ac:spMk id="143" creationId="{21D068D6-BF89-896C-1E84-7A06E72A1483}"/>
          </ac:spMkLst>
        </pc:spChg>
        <pc:spChg chg="add del mod modVis">
          <ac:chgData name="vonWaldow, Ulrich" userId="c64b3fe1-2fbf-4408-adc4-30add62e991f" providerId="ADAL" clId="{B99A90B8-7D29-4456-AFD4-0F3DBA13A596}" dt="2024-08-27T12:49:02.354" v="100528"/>
          <ac:spMkLst>
            <pc:docMk/>
            <pc:sldMk cId="0" sldId="276"/>
            <ac:spMk id="145" creationId="{F6EB8C48-F9DC-CA2B-910F-7F83E739BF42}"/>
          </ac:spMkLst>
        </pc:spChg>
        <pc:spChg chg="add del mod modVis">
          <ac:chgData name="vonWaldow, Ulrich" userId="c64b3fe1-2fbf-4408-adc4-30add62e991f" providerId="ADAL" clId="{B99A90B8-7D29-4456-AFD4-0F3DBA13A596}" dt="2024-08-27T12:49:06.450" v="100693"/>
          <ac:spMkLst>
            <pc:docMk/>
            <pc:sldMk cId="0" sldId="276"/>
            <ac:spMk id="147" creationId="{15D98F90-FBBB-1F33-5690-9ED17E94435B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5"/>
          <ac:spMkLst>
            <pc:docMk/>
            <pc:sldMk cId="0" sldId="276"/>
            <ac:spMk id="148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9:11.732" v="100798"/>
          <ac:spMkLst>
            <pc:docMk/>
            <pc:sldMk cId="0" sldId="276"/>
            <ac:spMk id="150" creationId="{11C79056-4864-97C4-7FE4-30763359169D}"/>
          </ac:spMkLst>
        </pc:spChg>
        <pc:spChg chg="add del mod modVis">
          <ac:chgData name="vonWaldow, Ulrich" userId="c64b3fe1-2fbf-4408-adc4-30add62e991f" providerId="ADAL" clId="{B99A90B8-7D29-4456-AFD4-0F3DBA13A596}" dt="2024-08-27T12:49:14.813" v="100915"/>
          <ac:spMkLst>
            <pc:docMk/>
            <pc:sldMk cId="0" sldId="276"/>
            <ac:spMk id="152" creationId="{A2E02454-4EE6-70C9-A1C8-0218641B8551}"/>
          </ac:spMkLst>
        </pc:spChg>
        <pc:spChg chg="add del mod modVis">
          <ac:chgData name="vonWaldow, Ulrich" userId="c64b3fe1-2fbf-4408-adc4-30add62e991f" providerId="ADAL" clId="{B99A90B8-7D29-4456-AFD4-0F3DBA13A596}" dt="2024-08-27T12:49:15.678" v="101018"/>
          <ac:spMkLst>
            <pc:docMk/>
            <pc:sldMk cId="0" sldId="276"/>
            <ac:spMk id="154" creationId="{38DAD532-79FC-471A-8F76-41A0F8351F46}"/>
          </ac:spMkLst>
        </pc:spChg>
        <pc:spChg chg="add del mod modVis">
          <ac:chgData name="vonWaldow, Ulrich" userId="c64b3fe1-2fbf-4408-adc4-30add62e991f" providerId="ADAL" clId="{B99A90B8-7D29-4456-AFD4-0F3DBA13A596}" dt="2024-08-27T12:49:17.925" v="101122"/>
          <ac:spMkLst>
            <pc:docMk/>
            <pc:sldMk cId="0" sldId="276"/>
            <ac:spMk id="156" creationId="{6B36734D-D088-FD67-EE3B-BE1D78D2ED50}"/>
          </ac:spMkLst>
        </pc:spChg>
        <pc:spChg chg="add del mod modVis">
          <ac:chgData name="vonWaldow, Ulrich" userId="c64b3fe1-2fbf-4408-adc4-30add62e991f" providerId="ADAL" clId="{B99A90B8-7D29-4456-AFD4-0F3DBA13A596}" dt="2024-08-27T12:49:20.017" v="101227"/>
          <ac:spMkLst>
            <pc:docMk/>
            <pc:sldMk cId="0" sldId="276"/>
            <ac:spMk id="158" creationId="{C45A4B2A-6EB9-C62A-83E6-F476EEEDB277}"/>
          </ac:spMkLst>
        </pc:spChg>
        <pc:spChg chg="add del mod modVis">
          <ac:chgData name="vonWaldow, Ulrich" userId="c64b3fe1-2fbf-4408-adc4-30add62e991f" providerId="ADAL" clId="{B99A90B8-7D29-4456-AFD4-0F3DBA13A596}" dt="2024-08-27T12:49:25.881" v="101328"/>
          <ac:spMkLst>
            <pc:docMk/>
            <pc:sldMk cId="0" sldId="276"/>
            <ac:spMk id="160" creationId="{077E20C2-FDB5-1897-3B62-EDCE170197B2}"/>
          </ac:spMkLst>
        </pc:spChg>
        <pc:spChg chg="add del mod modVis">
          <ac:chgData name="vonWaldow, Ulrich" userId="c64b3fe1-2fbf-4408-adc4-30add62e991f" providerId="ADAL" clId="{B99A90B8-7D29-4456-AFD4-0F3DBA13A596}" dt="2024-08-27T12:49:27.156" v="101431"/>
          <ac:spMkLst>
            <pc:docMk/>
            <pc:sldMk cId="0" sldId="276"/>
            <ac:spMk id="162" creationId="{DED8C8A7-8347-4844-1D20-DC2D15956D60}"/>
          </ac:spMkLst>
        </pc:spChg>
        <pc:spChg chg="add del mod modVis">
          <ac:chgData name="vonWaldow, Ulrich" userId="c64b3fe1-2fbf-4408-adc4-30add62e991f" providerId="ADAL" clId="{B99A90B8-7D29-4456-AFD4-0F3DBA13A596}" dt="2024-08-27T12:49:33.824" v="101544"/>
          <ac:spMkLst>
            <pc:docMk/>
            <pc:sldMk cId="0" sldId="276"/>
            <ac:spMk id="164" creationId="{0D06F055-017B-2C7A-23DD-13266F97EC51}"/>
          </ac:spMkLst>
        </pc:spChg>
        <pc:spChg chg="add del mod modVis">
          <ac:chgData name="vonWaldow, Ulrich" userId="c64b3fe1-2fbf-4408-adc4-30add62e991f" providerId="ADAL" clId="{B99A90B8-7D29-4456-AFD4-0F3DBA13A596}" dt="2024-08-27T12:49:36.957" v="101641"/>
          <ac:spMkLst>
            <pc:docMk/>
            <pc:sldMk cId="0" sldId="276"/>
            <ac:spMk id="166" creationId="{81B66378-232F-263F-E707-3EB9F2837AD1}"/>
          </ac:spMkLst>
        </pc:spChg>
        <pc:spChg chg="add del mod modVis">
          <ac:chgData name="vonWaldow, Ulrich" userId="c64b3fe1-2fbf-4408-adc4-30add62e991f" providerId="ADAL" clId="{B99A90B8-7D29-4456-AFD4-0F3DBA13A596}" dt="2024-08-27T12:49:47.111" v="101737"/>
          <ac:spMkLst>
            <pc:docMk/>
            <pc:sldMk cId="0" sldId="276"/>
            <ac:spMk id="168" creationId="{7E5F64F6-E081-8E21-CE7F-9E63B86A2720}"/>
          </ac:spMkLst>
        </pc:spChg>
        <pc:spChg chg="add del">
          <ac:chgData name="vonWaldow, Ulrich" userId="c64b3fe1-2fbf-4408-adc4-30add62e991f" providerId="ADAL" clId="{B99A90B8-7D29-4456-AFD4-0F3DBA13A596}" dt="2024-08-27T12:50:12.511" v="101741" actId="478"/>
          <ac:spMkLst>
            <pc:docMk/>
            <pc:sldMk cId="0" sldId="276"/>
            <ac:spMk id="171" creationId="{C8260A39-5DB1-38B3-1DDA-FF7727A8DA0E}"/>
          </ac:spMkLst>
        </pc:spChg>
        <pc:spChg chg="add del mod modVis">
          <ac:chgData name="vonWaldow, Ulrich" userId="c64b3fe1-2fbf-4408-adc4-30add62e991f" providerId="ADAL" clId="{B99A90B8-7D29-4456-AFD4-0F3DBA13A596}" dt="2024-08-27T12:50:48.683" v="101850"/>
          <ac:spMkLst>
            <pc:docMk/>
            <pc:sldMk cId="0" sldId="276"/>
            <ac:spMk id="172" creationId="{C28010AF-0157-E230-F806-051BB10389ED}"/>
          </ac:spMkLst>
        </pc:spChg>
        <pc:spChg chg="add del mod modVis">
          <ac:chgData name="vonWaldow, Ulrich" userId="c64b3fe1-2fbf-4408-adc4-30add62e991f" providerId="ADAL" clId="{B99A90B8-7D29-4456-AFD4-0F3DBA13A596}" dt="2024-08-27T12:50:53.827" v="102110"/>
          <ac:spMkLst>
            <pc:docMk/>
            <pc:sldMk cId="0" sldId="276"/>
            <ac:spMk id="174" creationId="{D1226D93-2B8B-1101-7579-245229894B46}"/>
          </ac:spMkLst>
        </pc:spChg>
        <pc:spChg chg="add del mod ord replST">
          <ac:chgData name="vonWaldow, Ulrich" userId="c64b3fe1-2fbf-4408-adc4-30add62e991f" providerId="ADAL" clId="{B99A90B8-7D29-4456-AFD4-0F3DBA13A596}" dt="2024-08-27T12:51:18.231" v="102780"/>
          <ac:spMkLst>
            <pc:docMk/>
            <pc:sldMk cId="0" sldId="276"/>
            <ac:spMk id="17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51:34.879" v="103543"/>
          <ac:spMkLst>
            <pc:docMk/>
            <pc:sldMk cId="0" sldId="276"/>
            <ac:spMk id="17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50:56.987" v="102257"/>
          <ac:spMkLst>
            <pc:docMk/>
            <pc:sldMk cId="0" sldId="276"/>
            <ac:spMk id="178" creationId="{29C24A69-F6B3-EDCC-1443-8624FE183075}"/>
          </ac:spMkLst>
        </pc:spChg>
        <pc:spChg chg="add del mod modVis">
          <ac:chgData name="vonWaldow, Ulrich" userId="c64b3fe1-2fbf-4408-adc4-30add62e991f" providerId="ADAL" clId="{B99A90B8-7D29-4456-AFD4-0F3DBA13A596}" dt="2024-08-27T12:50:59.565" v="102404"/>
          <ac:spMkLst>
            <pc:docMk/>
            <pc:sldMk cId="0" sldId="276"/>
            <ac:spMk id="180" creationId="{815F5327-113D-6B40-6887-300F42F39C4A}"/>
          </ac:spMkLst>
        </pc:spChg>
        <pc:spChg chg="add del mod modVis">
          <ac:chgData name="vonWaldow, Ulrich" userId="c64b3fe1-2fbf-4408-adc4-30add62e991f" providerId="ADAL" clId="{B99A90B8-7D29-4456-AFD4-0F3DBA13A596}" dt="2024-08-27T12:51:07.649" v="102551"/>
          <ac:spMkLst>
            <pc:docMk/>
            <pc:sldMk cId="0" sldId="276"/>
            <ac:spMk id="182" creationId="{BF08FBA1-0A8C-5918-D17B-D1AC9749C23A}"/>
          </ac:spMkLst>
        </pc:spChg>
        <pc:spChg chg="add del mod modVis">
          <ac:chgData name="vonWaldow, Ulrich" userId="c64b3fe1-2fbf-4408-adc4-30add62e991f" providerId="ADAL" clId="{B99A90B8-7D29-4456-AFD4-0F3DBA13A596}" dt="2024-08-27T12:51:10.260" v="102698"/>
          <ac:spMkLst>
            <pc:docMk/>
            <pc:sldMk cId="0" sldId="276"/>
            <ac:spMk id="184" creationId="{3E7C11F4-D845-E344-5762-1B9A08439282}"/>
          </ac:spMkLst>
        </pc:spChg>
        <pc:spChg chg="add del mod modVis">
          <ac:chgData name="vonWaldow, Ulrich" userId="c64b3fe1-2fbf-4408-adc4-30add62e991f" providerId="ADAL" clId="{B99A90B8-7D29-4456-AFD4-0F3DBA13A596}" dt="2024-08-27T12:51:18.279" v="102841"/>
          <ac:spMkLst>
            <pc:docMk/>
            <pc:sldMk cId="0" sldId="276"/>
            <ac:spMk id="186" creationId="{BE54082B-6CF1-F715-D254-F31B12B9AB19}"/>
          </ac:spMkLst>
        </pc:spChg>
        <pc:spChg chg="add del mod modVis">
          <ac:chgData name="vonWaldow, Ulrich" userId="c64b3fe1-2fbf-4408-adc4-30add62e991f" providerId="ADAL" clId="{B99A90B8-7D29-4456-AFD4-0F3DBA13A596}" dt="2024-08-27T12:51:23.001" v="102971"/>
          <ac:spMkLst>
            <pc:docMk/>
            <pc:sldMk cId="0" sldId="276"/>
            <ac:spMk id="188" creationId="{4AABBF0F-898D-A5CC-2F33-47D9C61272B6}"/>
          </ac:spMkLst>
        </pc:spChg>
        <pc:spChg chg="add del mod modVis">
          <ac:chgData name="vonWaldow, Ulrich" userId="c64b3fe1-2fbf-4408-adc4-30add62e991f" providerId="ADAL" clId="{B99A90B8-7D29-4456-AFD4-0F3DBA13A596}" dt="2024-08-27T12:51:25.687" v="103175"/>
          <ac:spMkLst>
            <pc:docMk/>
            <pc:sldMk cId="0" sldId="276"/>
            <ac:spMk id="190" creationId="{9124BE91-2275-2AD0-27E9-8EEA9460E6B7}"/>
          </ac:spMkLst>
        </pc:spChg>
        <pc:spChg chg="add del mod ord replST">
          <ac:chgData name="vonWaldow, Ulrich" userId="c64b3fe1-2fbf-4408-adc4-30add62e991f" providerId="ADAL" clId="{B99A90B8-7D29-4456-AFD4-0F3DBA13A596}" dt="2024-08-27T12:51:34.722" v="103473"/>
          <ac:spMkLst>
            <pc:docMk/>
            <pc:sldMk cId="0" sldId="276"/>
            <ac:spMk id="19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51:26.259" v="103322"/>
          <ac:spMkLst>
            <pc:docMk/>
            <pc:sldMk cId="0" sldId="276"/>
            <ac:spMk id="193" creationId="{6483D303-2BF3-FCF8-28E3-C60CCB45C8B3}"/>
          </ac:spMkLst>
        </pc:spChg>
        <pc:spChg chg="add del mod modVis">
          <ac:chgData name="vonWaldow, Ulrich" userId="c64b3fe1-2fbf-4408-adc4-30add62e991f" providerId="ADAL" clId="{B99A90B8-7D29-4456-AFD4-0F3DBA13A596}" dt="2024-08-27T12:51:30.790" v="103469"/>
          <ac:spMkLst>
            <pc:docMk/>
            <pc:sldMk cId="0" sldId="276"/>
            <ac:spMk id="195" creationId="{5A88A486-1C4E-9F39-7878-0A34886D9985}"/>
          </ac:spMkLst>
        </pc:spChg>
        <pc:spChg chg="add del mod modVis">
          <ac:chgData name="vonWaldow, Ulrich" userId="c64b3fe1-2fbf-4408-adc4-30add62e991f" providerId="ADAL" clId="{B99A90B8-7D29-4456-AFD4-0F3DBA13A596}" dt="2024-08-27T12:51:34.957" v="103599"/>
          <ac:spMkLst>
            <pc:docMk/>
            <pc:sldMk cId="0" sldId="276"/>
            <ac:spMk id="197" creationId="{910E89A9-CAF5-D823-DA9A-A1C5F111BF91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2:51:34.973" v="103601"/>
          <ac:graphicFrameMkLst>
            <pc:docMk/>
            <pc:sldMk cId="0" sldId="276"/>
            <ac:graphicFrameMk id="19" creationId="{ADF560E8-0A92-A936-8749-4531CFFAD1D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30.016" v="95500"/>
          <ac:graphicFrameMkLst>
            <pc:docMk/>
            <pc:sldMk cId="0" sldId="276"/>
            <ac:graphicFrameMk id="46" creationId="{94166E74-F84C-7CEC-6A59-E1942A017B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55.829" v="95600"/>
          <ac:graphicFrameMkLst>
            <pc:docMk/>
            <pc:sldMk cId="0" sldId="276"/>
            <ac:graphicFrameMk id="48" creationId="{6EF6D216-A4E7-B050-0DC3-59DA299AFE3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59.110" v="95692"/>
          <ac:graphicFrameMkLst>
            <pc:docMk/>
            <pc:sldMk cId="0" sldId="276"/>
            <ac:graphicFrameMk id="50" creationId="{CCA9FB3D-25D5-5034-62B5-0F6FE8B150F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03.513" v="95786"/>
          <ac:graphicFrameMkLst>
            <pc:docMk/>
            <pc:sldMk cId="0" sldId="276"/>
            <ac:graphicFrameMk id="53" creationId="{7A792CAD-EEE9-CDF9-6773-83FE519482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05.843" v="95889"/>
          <ac:graphicFrameMkLst>
            <pc:docMk/>
            <pc:sldMk cId="0" sldId="276"/>
            <ac:graphicFrameMk id="56" creationId="{86B9B334-CE9F-0A9B-696E-17E863F14FF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17.710" v="95999"/>
          <ac:graphicFrameMkLst>
            <pc:docMk/>
            <pc:sldMk cId="0" sldId="276"/>
            <ac:graphicFrameMk id="59" creationId="{96B509D0-F782-9193-41EC-4E2FDE41D2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26.433" v="96110"/>
          <ac:graphicFrameMkLst>
            <pc:docMk/>
            <pc:sldMk cId="0" sldId="276"/>
            <ac:graphicFrameMk id="62" creationId="{FB3A5265-6C21-F5E5-3DB9-DD1EEF6524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43.309" v="96209"/>
          <ac:graphicFrameMkLst>
            <pc:docMk/>
            <pc:sldMk cId="0" sldId="276"/>
            <ac:graphicFrameMk id="65" creationId="{75EBC90B-3596-146E-41D2-5C670BE5D0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46.910" v="96303"/>
          <ac:graphicFrameMkLst>
            <pc:docMk/>
            <pc:sldMk cId="0" sldId="276"/>
            <ac:graphicFrameMk id="67" creationId="{E98DB251-5CC3-006C-1953-5A54CD3B037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05.332" v="96397"/>
          <ac:graphicFrameMkLst>
            <pc:docMk/>
            <pc:sldMk cId="0" sldId="276"/>
            <ac:graphicFrameMk id="69" creationId="{29498243-3920-42E7-6B27-A121FED3A1D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08.723" v="96486"/>
          <ac:graphicFrameMkLst>
            <pc:docMk/>
            <pc:sldMk cId="0" sldId="276"/>
            <ac:graphicFrameMk id="71" creationId="{7F647913-A098-3CFB-F885-9CEB6C5B69E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19.391" v="96585"/>
          <ac:graphicFrameMkLst>
            <pc:docMk/>
            <pc:sldMk cId="0" sldId="276"/>
            <ac:graphicFrameMk id="73" creationId="{83A331C1-2BC5-47FC-57ED-97009BFF3F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25.246" v="96682"/>
          <ac:graphicFrameMkLst>
            <pc:docMk/>
            <pc:sldMk cId="0" sldId="276"/>
            <ac:graphicFrameMk id="75" creationId="{1D5426AA-52D4-5671-02CC-698161BE443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29.652" v="96762"/>
          <ac:graphicFrameMkLst>
            <pc:docMk/>
            <pc:sldMk cId="0" sldId="276"/>
            <ac:graphicFrameMk id="77" creationId="{91C2187D-5268-95F7-E770-F1C10FACFB3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1.202" v="96842"/>
          <ac:graphicFrameMkLst>
            <pc:docMk/>
            <pc:sldMk cId="0" sldId="276"/>
            <ac:graphicFrameMk id="79" creationId="{50D9A492-438B-F20F-8984-EB3F1FF235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2.640" v="96922"/>
          <ac:graphicFrameMkLst>
            <pc:docMk/>
            <pc:sldMk cId="0" sldId="276"/>
            <ac:graphicFrameMk id="81" creationId="{5506F32E-56A9-A4AB-F488-D086EEC2E4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4.313" v="97002"/>
          <ac:graphicFrameMkLst>
            <pc:docMk/>
            <pc:sldMk cId="0" sldId="276"/>
            <ac:graphicFrameMk id="83" creationId="{8D475919-A849-F135-8099-F9B9EC6815A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5.407" v="97082"/>
          <ac:graphicFrameMkLst>
            <pc:docMk/>
            <pc:sldMk cId="0" sldId="276"/>
            <ac:graphicFrameMk id="85" creationId="{0A8ED390-DB05-5EBD-686B-D01427FFC6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6.348" v="97162"/>
          <ac:graphicFrameMkLst>
            <pc:docMk/>
            <pc:sldMk cId="0" sldId="276"/>
            <ac:graphicFrameMk id="87" creationId="{BC352DCF-33B2-80BE-85F8-4E6F4C6D7EA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4.682" v="97497"/>
          <ac:graphicFrameMkLst>
            <pc:docMk/>
            <pc:sldMk cId="0" sldId="276"/>
            <ac:graphicFrameMk id="89" creationId="{9178C0DF-3DE9-2FB1-BC1B-3387CEE94D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7.166" v="98341"/>
          <ac:graphicFrameMkLst>
            <pc:docMk/>
            <pc:sldMk cId="0" sldId="276"/>
            <ac:graphicFrameMk id="98" creationId="{9AC1BECE-8F28-70D4-3EF0-78A3B5797F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9.033" v="98565"/>
          <ac:graphicFrameMkLst>
            <pc:docMk/>
            <pc:sldMk cId="0" sldId="276"/>
            <ac:graphicFrameMk id="122" creationId="{223A5AE1-8ADB-A5A3-699B-FEF8D6DC6E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04.873" v="98925"/>
          <ac:graphicFrameMkLst>
            <pc:docMk/>
            <pc:sldMk cId="0" sldId="276"/>
            <ac:graphicFrameMk id="123" creationId="{E39775BD-F564-2F0E-C638-5862D8E6CBA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06.017" v="99079"/>
          <ac:graphicFrameMkLst>
            <pc:docMk/>
            <pc:sldMk cId="0" sldId="276"/>
            <ac:graphicFrameMk id="125" creationId="{8C7FA18A-2CBB-3A45-3C05-A1F1E09D8B6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13.862" v="99167"/>
          <ac:graphicFrameMkLst>
            <pc:docMk/>
            <pc:sldMk cId="0" sldId="276"/>
            <ac:graphicFrameMk id="126" creationId="{7BF0BBDC-1916-1757-4E70-5791FB3081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26.866" v="99246"/>
          <ac:graphicFrameMkLst>
            <pc:docMk/>
            <pc:sldMk cId="0" sldId="276"/>
            <ac:graphicFrameMk id="128" creationId="{4035EAF3-45DF-BA12-4C17-CA9345AB279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28.773" v="99336"/>
          <ac:graphicFrameMkLst>
            <pc:docMk/>
            <pc:sldMk cId="0" sldId="276"/>
            <ac:graphicFrameMk id="129" creationId="{45EC47E7-1876-AF7C-0B31-BDB392792BC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2.232" v="99413"/>
          <ac:graphicFrameMkLst>
            <pc:docMk/>
            <pc:sldMk cId="0" sldId="276"/>
            <ac:graphicFrameMk id="130" creationId="{27749D2A-79BE-B1F5-AC07-BF042BEAA04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6.059" v="99637"/>
          <ac:graphicFrameMkLst>
            <pc:docMk/>
            <pc:sldMk cId="0" sldId="276"/>
            <ac:graphicFrameMk id="131" creationId="{0D9FD558-0461-C555-52D4-75F4102A537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7.705" v="99772"/>
          <ac:graphicFrameMkLst>
            <pc:docMk/>
            <pc:sldMk cId="0" sldId="276"/>
            <ac:graphicFrameMk id="133" creationId="{B14F7AA3-75FD-A78E-4FEC-2F4F1AFE368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9.337" v="99839"/>
          <ac:graphicFrameMkLst>
            <pc:docMk/>
            <pc:sldMk cId="0" sldId="276"/>
            <ac:graphicFrameMk id="136" creationId="{B3622C6A-AA74-72F3-0BA5-A6210F3923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44.974" v="100077"/>
          <ac:graphicFrameMkLst>
            <pc:docMk/>
            <pc:sldMk cId="0" sldId="276"/>
            <ac:graphicFrameMk id="137" creationId="{29204130-66B3-C850-3D2F-31A834AB0E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1.051" v="100167"/>
          <ac:graphicFrameMkLst>
            <pc:docMk/>
            <pc:sldMk cId="0" sldId="276"/>
            <ac:graphicFrameMk id="139" creationId="{34DB8810-A782-AB2A-E5FE-43A37594BA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6.551" v="100259"/>
          <ac:graphicFrameMkLst>
            <pc:docMk/>
            <pc:sldMk cId="0" sldId="276"/>
            <ac:graphicFrameMk id="141" creationId="{3DEB67FE-E7AA-DB60-3C61-CAA5DD13C9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8.678" v="100374"/>
          <ac:graphicFrameMkLst>
            <pc:docMk/>
            <pc:sldMk cId="0" sldId="276"/>
            <ac:graphicFrameMk id="142" creationId="{893AE08B-EBC7-58CC-49F7-6331215F1D7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02.313" v="100476"/>
          <ac:graphicFrameMkLst>
            <pc:docMk/>
            <pc:sldMk cId="0" sldId="276"/>
            <ac:graphicFrameMk id="144" creationId="{8A7412DC-54A9-50C6-B192-F6A8ADCEF53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06.387" v="100630"/>
          <ac:graphicFrameMkLst>
            <pc:docMk/>
            <pc:sldMk cId="0" sldId="276"/>
            <ac:graphicFrameMk id="146" creationId="{FA800E1D-1649-8192-709A-46165B875C5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1.685" v="100745"/>
          <ac:graphicFrameMkLst>
            <pc:docMk/>
            <pc:sldMk cId="0" sldId="276"/>
            <ac:graphicFrameMk id="149" creationId="{4D28E4B2-2B67-A2FA-4A0F-4AA84AA30BA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4.781" v="100862"/>
          <ac:graphicFrameMkLst>
            <pc:docMk/>
            <pc:sldMk cId="0" sldId="276"/>
            <ac:graphicFrameMk id="151" creationId="{461F8394-0E09-6939-50DC-2C5810F409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5.623" v="100965"/>
          <ac:graphicFrameMkLst>
            <pc:docMk/>
            <pc:sldMk cId="0" sldId="276"/>
            <ac:graphicFrameMk id="153" creationId="{0BFE67A6-A895-E366-1158-588B707FEC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7.862" v="101069"/>
          <ac:graphicFrameMkLst>
            <pc:docMk/>
            <pc:sldMk cId="0" sldId="276"/>
            <ac:graphicFrameMk id="155" creationId="{EEE4C750-BE8D-1398-3203-DFB48531CD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9.939" v="101174"/>
          <ac:graphicFrameMkLst>
            <pc:docMk/>
            <pc:sldMk cId="0" sldId="276"/>
            <ac:graphicFrameMk id="157" creationId="{23C94E0E-5584-3B54-3484-4CD499E50AF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25.833" v="101275"/>
          <ac:graphicFrameMkLst>
            <pc:docMk/>
            <pc:sldMk cId="0" sldId="276"/>
            <ac:graphicFrameMk id="159" creationId="{164973E1-7F73-2C1E-E49E-5A739AB2C06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27.102" v="101378"/>
          <ac:graphicFrameMkLst>
            <pc:docMk/>
            <pc:sldMk cId="0" sldId="276"/>
            <ac:graphicFrameMk id="161" creationId="{D9D4B9FB-FE25-D824-28A5-BD43967573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33.767" v="101491"/>
          <ac:graphicFrameMkLst>
            <pc:docMk/>
            <pc:sldMk cId="0" sldId="276"/>
            <ac:graphicFrameMk id="163" creationId="{38361271-0306-6566-AD1B-37AA6F1358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36.918" v="101589"/>
          <ac:graphicFrameMkLst>
            <pc:docMk/>
            <pc:sldMk cId="0" sldId="276"/>
            <ac:graphicFrameMk id="165" creationId="{8A7A8625-AC3F-2622-159B-9E8A209DA6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47.064" v="101685"/>
          <ac:graphicFrameMkLst>
            <pc:docMk/>
            <pc:sldMk cId="0" sldId="276"/>
            <ac:graphicFrameMk id="167" creationId="{4C604A74-DCA6-1AF8-1C63-0490A44B896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48.621" v="101800"/>
          <ac:graphicFrameMkLst>
            <pc:docMk/>
            <pc:sldMk cId="0" sldId="276"/>
            <ac:graphicFrameMk id="169" creationId="{F06AC35C-74FE-708E-6031-4706D945AC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3.748" v="102051"/>
          <ac:graphicFrameMkLst>
            <pc:docMk/>
            <pc:sldMk cId="0" sldId="276"/>
            <ac:graphicFrameMk id="173" creationId="{9AE82D1E-058F-B05B-9DA7-ED6E1BF0A1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6.940" v="102198"/>
          <ac:graphicFrameMkLst>
            <pc:docMk/>
            <pc:sldMk cId="0" sldId="276"/>
            <ac:graphicFrameMk id="177" creationId="{31E9F1E8-BBF2-2470-40E8-42374D34D2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9.524" v="102345"/>
          <ac:graphicFrameMkLst>
            <pc:docMk/>
            <pc:sldMk cId="0" sldId="276"/>
            <ac:graphicFrameMk id="179" creationId="{6832AFEB-BB36-352F-87D3-8B67675C0A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07.572" v="102492"/>
          <ac:graphicFrameMkLst>
            <pc:docMk/>
            <pc:sldMk cId="0" sldId="276"/>
            <ac:graphicFrameMk id="181" creationId="{DB938F4F-19A8-309D-4A42-289F52DA0FC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10.213" v="102639"/>
          <ac:graphicFrameMkLst>
            <pc:docMk/>
            <pc:sldMk cId="0" sldId="276"/>
            <ac:graphicFrameMk id="183" creationId="{B4800B07-42D4-A5A4-4112-4D286D896F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18.231" v="102784"/>
          <ac:graphicFrameMkLst>
            <pc:docMk/>
            <pc:sldMk cId="0" sldId="276"/>
            <ac:graphicFrameMk id="185" creationId="{D687969E-C988-931E-790D-BE122EB048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2.953" v="102914"/>
          <ac:graphicFrameMkLst>
            <pc:docMk/>
            <pc:sldMk cId="0" sldId="276"/>
            <ac:graphicFrameMk id="187" creationId="{71BB43B1-2C48-676A-B32D-88B129C107E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5.638" v="103116"/>
          <ac:graphicFrameMkLst>
            <pc:docMk/>
            <pc:sldMk cId="0" sldId="276"/>
            <ac:graphicFrameMk id="189" creationId="{14E4E9A6-3217-35CA-F22B-C6D6BBA9157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6.211" v="103263"/>
          <ac:graphicFrameMkLst>
            <pc:docMk/>
            <pc:sldMk cId="0" sldId="276"/>
            <ac:graphicFrameMk id="192" creationId="{C6455742-BC91-1F23-A7EE-49BAF6D561E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30.734" v="103410"/>
          <ac:graphicFrameMkLst>
            <pc:docMk/>
            <pc:sldMk cId="0" sldId="276"/>
            <ac:graphicFrameMk id="194" creationId="{0A599980-8721-EC39-997D-2B9E1F200AF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34.894" v="103545"/>
          <ac:graphicFrameMkLst>
            <pc:docMk/>
            <pc:sldMk cId="0" sldId="276"/>
            <ac:graphicFrameMk id="196" creationId="{BC9E3965-7FA8-6485-6767-7E234BE0C2AB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51:34.957" v="103588"/>
          <ac:graphicFrameMkLst>
            <pc:docMk/>
            <pc:sldMk cId="0" sldId="276"/>
            <ac:graphicFrameMk id="198" creationId="{1695C285-041B-F475-7C0A-C6CEBF0BB2E9}"/>
          </ac:graphicFrameMkLst>
        </pc:graphicFrameChg>
        <pc:picChg chg="add del mod ord">
          <ac:chgData name="vonWaldow, Ulrich" userId="c64b3fe1-2fbf-4408-adc4-30add62e991f" providerId="ADAL" clId="{B99A90B8-7D29-4456-AFD4-0F3DBA13A596}" dt="2024-08-27T12:50:40.206" v="101756" actId="478"/>
          <ac:picMkLst>
            <pc:docMk/>
            <pc:sldMk cId="0" sldId="276"/>
            <ac:picMk id="23" creationId="{A8685BB1-7E02-577F-D195-AA38A11AE3F6}"/>
          </ac:picMkLst>
        </pc:picChg>
        <pc:cxnChg chg="add del mod ord replST">
          <ac:chgData name="vonWaldow, Ulrich" userId="c64b3fe1-2fbf-4408-adc4-30add62e991f" providerId="ADAL" clId="{B99A90B8-7D29-4456-AFD4-0F3DBA13A596}" dt="2024-08-27T12:45:29.938" v="95455"/>
          <ac:cxnSpMkLst>
            <pc:docMk/>
            <pc:sldMk cId="0" sldId="276"/>
            <ac:cxnSpMk id="40" creationId="{2A8968E1-BC4E-DC09-1FA6-79EB2EAA156A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938" v="95457"/>
          <ac:cxnSpMkLst>
            <pc:docMk/>
            <pc:sldMk cId="0" sldId="276"/>
            <ac:cxnSpMk id="41" creationId="{6E6432F9-C806-2BC0-38E2-C566DE30A697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938" v="95459"/>
          <ac:cxnSpMkLst>
            <pc:docMk/>
            <pc:sldMk cId="0" sldId="276"/>
            <ac:cxnSpMk id="42" creationId="{3093A5AA-8A85-32CC-A077-36DE16F4AEDF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30.007" v="95498"/>
          <ac:cxnSpMkLst>
            <pc:docMk/>
            <pc:sldMk cId="0" sldId="276"/>
            <ac:cxnSpMk id="43" creationId="{93970876-A634-E355-6582-9ABC773ED3D7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874" v="95422"/>
          <ac:cxnSpMkLst>
            <pc:docMk/>
            <pc:sldMk cId="0" sldId="276"/>
            <ac:cxnSpMk id="44" creationId="{3596AFD2-CA90-DC8C-B399-AF47C7A403D5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874" v="95425"/>
          <ac:cxnSpMkLst>
            <pc:docMk/>
            <pc:sldMk cId="0" sldId="276"/>
            <ac:cxnSpMk id="45" creationId="{A1581487-6A0D-73B6-0C69-3C702924ECC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763" v="98815"/>
          <ac:cxnSpMkLst>
            <pc:docMk/>
            <pc:sldMk cId="0" sldId="276"/>
            <ac:cxnSpMk id="95" creationId="{F9F7D406-107F-3999-3CC4-9CCC8180CF57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6.001" v="99077"/>
          <ac:cxnSpMkLst>
            <pc:docMk/>
            <pc:sldMk cId="0" sldId="276"/>
            <ac:cxnSpMk id="96" creationId="{48D7634D-BA99-40EC-FB94-A06EF212550F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5.938" v="99028"/>
          <ac:cxnSpMkLst>
            <pc:docMk/>
            <pc:sldMk cId="0" sldId="276"/>
            <ac:cxnSpMk id="97" creationId="{007ED29B-4878-769D-0E38-05AE830C1D34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779" v="98834"/>
          <ac:cxnSpMkLst>
            <pc:docMk/>
            <pc:sldMk cId="0" sldId="276"/>
            <ac:cxnSpMk id="117" creationId="{96A6B7C4-5082-6641-5D26-13458B65F8E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03" v="98853"/>
          <ac:cxnSpMkLst>
            <pc:docMk/>
            <pc:sldMk cId="0" sldId="276"/>
            <ac:cxnSpMk id="118" creationId="{DB520C0C-704E-6BC5-C758-49840B88BE6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10" v="98872"/>
          <ac:cxnSpMkLst>
            <pc:docMk/>
            <pc:sldMk cId="0" sldId="276"/>
            <ac:cxnSpMk id="119" creationId="{F12009C3-CB49-A771-ED2F-6F28E2B27DF7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31" v="98891"/>
          <ac:cxnSpMkLst>
            <pc:docMk/>
            <pc:sldMk cId="0" sldId="276"/>
            <ac:cxnSpMk id="120" creationId="{C21D9BF1-7B61-6214-0205-925BD35DD9C3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57" v="98910"/>
          <ac:cxnSpMkLst>
            <pc:docMk/>
            <pc:sldMk cId="0" sldId="276"/>
            <ac:cxnSpMk id="121" creationId="{5872FE5D-C238-A377-5C85-A27C176EA377}"/>
          </ac:cxnSpMkLst>
        </pc:cxnChg>
      </pc:sldChg>
      <pc:sldChg chg="addSp delSp modSp mod">
        <pc:chgData name="vonWaldow, Ulrich" userId="c64b3fe1-2fbf-4408-adc4-30add62e991f" providerId="ADAL" clId="{B99A90B8-7D29-4456-AFD4-0F3DBA13A596}" dt="2024-08-28T07:46:10.523" v="105566" actId="790"/>
        <pc:sldMkLst>
          <pc:docMk/>
          <pc:sldMk cId="0" sldId="277"/>
        </pc:sldMkLst>
        <pc:spChg chg="mod">
          <ac:chgData name="vonWaldow, Ulrich" userId="c64b3fe1-2fbf-4408-adc4-30add62e991f" providerId="ADAL" clId="{B99A90B8-7D29-4456-AFD4-0F3DBA13A596}" dt="2024-08-27T13:02:06.181" v="104162" actId="948"/>
          <ac:spMkLst>
            <pc:docMk/>
            <pc:sldMk cId="0" sldId="277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8T07:46:10.523" v="105566" actId="790"/>
          <ac:spMkLst>
            <pc:docMk/>
            <pc:sldMk cId="0" sldId="277"/>
            <ac:spMk id="4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3:03:30.568" v="104233" actId="478"/>
          <ac:spMkLst>
            <pc:docMk/>
            <pc:sldMk cId="0" sldId="277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2:19.250" v="104205" actId="20577"/>
          <ac:spMkLst>
            <pc:docMk/>
            <pc:sldMk cId="0" sldId="277"/>
            <ac:spMk id="7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2:56.093" v="104228" actId="20577"/>
          <ac:spMkLst>
            <pc:docMk/>
            <pc:sldMk cId="0" sldId="277"/>
            <ac:spMk id="12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01:59.275" v="104086" actId="962"/>
          <ac:spMkLst>
            <pc:docMk/>
            <pc:sldMk cId="0" sldId="277"/>
            <ac:spMk id="18" creationId="{09D8F7A0-6C47-72EC-A6EF-481A2A05A78F}"/>
          </ac:spMkLst>
        </pc:spChg>
        <pc:spChg chg="add del mod modVis">
          <ac:chgData name="vonWaldow, Ulrich" userId="c64b3fe1-2fbf-4408-adc4-30add62e991f" providerId="ADAL" clId="{B99A90B8-7D29-4456-AFD4-0F3DBA13A596}" dt="2024-08-27T13:01:54.318" v="103995" actId="962"/>
          <ac:spMkLst>
            <pc:docMk/>
            <pc:sldMk cId="0" sldId="277"/>
            <ac:spMk id="20" creationId="{05575849-98C9-3BD1-43E6-7932F3BD068B}"/>
          </ac:spMkLst>
        </pc:spChg>
        <pc:spChg chg="add del mod modVis">
          <ac:chgData name="vonWaldow, Ulrich" userId="c64b3fe1-2fbf-4408-adc4-30add62e991f" providerId="ADAL" clId="{B99A90B8-7D29-4456-AFD4-0F3DBA13A596}" dt="2024-08-27T13:01:53.960" v="103970" actId="962"/>
          <ac:spMkLst>
            <pc:docMk/>
            <pc:sldMk cId="0" sldId="277"/>
            <ac:spMk id="21" creationId="{175584A7-861A-4E48-5EC4-91196F95BC76}"/>
          </ac:spMkLst>
        </pc:spChg>
        <pc:spChg chg="add del mod modVis">
          <ac:chgData name="vonWaldow, Ulrich" userId="c64b3fe1-2fbf-4408-adc4-30add62e991f" providerId="ADAL" clId="{B99A90B8-7D29-4456-AFD4-0F3DBA13A596}" dt="2024-08-27T13:01:53.599" v="103946" actId="962"/>
          <ac:spMkLst>
            <pc:docMk/>
            <pc:sldMk cId="0" sldId="277"/>
            <ac:spMk id="22" creationId="{5CFC37C9-B93C-EC49-E4BB-CAF5FEAE3370}"/>
          </ac:spMkLst>
        </pc:spChg>
        <pc:spChg chg="add del mod modVis">
          <ac:chgData name="vonWaldow, Ulrich" userId="c64b3fe1-2fbf-4408-adc4-30add62e991f" providerId="ADAL" clId="{B99A90B8-7D29-4456-AFD4-0F3DBA13A596}" dt="2024-08-27T13:02:03.475" v="104115"/>
          <ac:spMkLst>
            <pc:docMk/>
            <pc:sldMk cId="0" sldId="277"/>
            <ac:spMk id="23" creationId="{6EE6AA57-2A45-EB16-401B-8FE772870DE6}"/>
          </ac:spMkLst>
        </pc:spChg>
        <pc:spChg chg="add del mod modVis">
          <ac:chgData name="vonWaldow, Ulrich" userId="c64b3fe1-2fbf-4408-adc4-30add62e991f" providerId="ADAL" clId="{B99A90B8-7D29-4456-AFD4-0F3DBA13A596}" dt="2024-08-27T13:02:04.271" v="104156"/>
          <ac:spMkLst>
            <pc:docMk/>
            <pc:sldMk cId="0" sldId="277"/>
            <ac:spMk id="25" creationId="{83758894-9F73-70E8-AE65-69E291CE97F2}"/>
          </ac:spMkLst>
        </pc:spChg>
        <pc:spChg chg="add del mod modVis">
          <ac:chgData name="vonWaldow, Ulrich" userId="c64b3fe1-2fbf-4408-adc4-30add62e991f" providerId="ADAL" clId="{B99A90B8-7D29-4456-AFD4-0F3DBA13A596}" dt="2024-08-27T13:02:06.213" v="104183"/>
          <ac:spMkLst>
            <pc:docMk/>
            <pc:sldMk cId="0" sldId="277"/>
            <ac:spMk id="26" creationId="{59C78CB6-9125-6AF5-7FC2-0A8932A6FE84}"/>
          </ac:spMkLst>
        </pc:spChg>
        <pc:spChg chg="add mod">
          <ac:chgData name="vonWaldow, Ulrich" userId="c64b3fe1-2fbf-4408-adc4-30add62e991f" providerId="ADAL" clId="{B99A90B8-7D29-4456-AFD4-0F3DBA13A596}" dt="2024-08-27T13:03:30.568" v="104233" actId="478"/>
          <ac:spMkLst>
            <pc:docMk/>
            <pc:sldMk cId="0" sldId="277"/>
            <ac:spMk id="30" creationId="{61209F0E-0FF5-B512-4D66-DD183055E3A6}"/>
          </ac:spMkLst>
        </pc:spChg>
        <pc:graphicFrameChg chg="add mod ord modVis replST delST">
          <ac:chgData name="vonWaldow, Ulrich" userId="c64b3fe1-2fbf-4408-adc4-30add62e991f" providerId="ADAL" clId="{B99A90B8-7D29-4456-AFD4-0F3DBA13A596}" dt="2024-08-27T13:01:59.262" v="104068" actId="14100"/>
          <ac:graphicFrameMkLst>
            <pc:docMk/>
            <pc:sldMk cId="0" sldId="277"/>
            <ac:graphicFrameMk id="19" creationId="{CA974D94-05CF-9CBF-6897-B2EE9E5B5A55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7T13:02:06.213" v="104185"/>
          <ac:graphicFrameMkLst>
            <pc:docMk/>
            <pc:sldMk cId="0" sldId="277"/>
            <ac:graphicFrameMk id="24" creationId="{FF3DF1B3-07B8-0928-33EC-23CDA641FD51}"/>
          </ac:graphicFrameMkLst>
        </pc:graphicFrameChg>
        <pc:picChg chg="add mod">
          <ac:chgData name="vonWaldow, Ulrich" userId="c64b3fe1-2fbf-4408-adc4-30add62e991f" providerId="ADAL" clId="{B99A90B8-7D29-4456-AFD4-0F3DBA13A596}" dt="2024-08-27T13:03:32.949" v="104237"/>
          <ac:picMkLst>
            <pc:docMk/>
            <pc:sldMk cId="0" sldId="277"/>
            <ac:picMk id="28" creationId="{8ACE9E21-FCE0-0F72-985D-42EAC7190125}"/>
          </ac:picMkLst>
        </pc:picChg>
      </pc:sldChg>
      <pc:sldChg chg="addSp delSp modSp del mod ord modShow">
        <pc:chgData name="vonWaldow, Ulrich" userId="c64b3fe1-2fbf-4408-adc4-30add62e991f" providerId="ADAL" clId="{B99A90B8-7D29-4456-AFD4-0F3DBA13A596}" dt="2024-09-03T12:29:07.186" v="112306" actId="47"/>
        <pc:sldMkLst>
          <pc:docMk/>
          <pc:sldMk cId="0" sldId="278"/>
        </pc:sldMkLst>
        <pc:spChg chg="mod">
          <ac:chgData name="vonWaldow, Ulrich" userId="c64b3fe1-2fbf-4408-adc4-30add62e991f" providerId="ADAL" clId="{B99A90B8-7D29-4456-AFD4-0F3DBA13A596}" dt="2024-08-27T13:04:21.752" v="104488" actId="948"/>
          <ac:spMkLst>
            <pc:docMk/>
            <pc:sldMk cId="0" sldId="278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6:25" v="104578" actId="6549"/>
          <ac:spMkLst>
            <pc:docMk/>
            <pc:sldMk cId="0" sldId="278"/>
            <ac:spMk id="3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6:16.460" v="104577" actId="20577"/>
          <ac:spMkLst>
            <pc:docMk/>
            <pc:sldMk cId="0" sldId="278"/>
            <ac:spMk id="4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4:30.320" v="104512" actId="6549"/>
          <ac:spMkLst>
            <pc:docMk/>
            <pc:sldMk cId="0" sldId="278"/>
            <ac:spMk id="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03:40.153" v="104260"/>
          <ac:spMkLst>
            <pc:docMk/>
            <pc:sldMk cId="0" sldId="278"/>
            <ac:spMk id="18" creationId="{F6FFDFF5-3067-0188-92E2-30E7C27B5576}"/>
          </ac:spMkLst>
        </pc:spChg>
        <pc:spChg chg="add del mod modVis">
          <ac:chgData name="vonWaldow, Ulrich" userId="c64b3fe1-2fbf-4408-adc4-30add62e991f" providerId="ADAL" clId="{B99A90B8-7D29-4456-AFD4-0F3DBA13A596}" dt="2024-08-27T13:03:47.377" v="104298"/>
          <ac:spMkLst>
            <pc:docMk/>
            <pc:sldMk cId="0" sldId="278"/>
            <ac:spMk id="20" creationId="{EC4DE70C-5B77-2676-4714-16A65FBC2971}"/>
          </ac:spMkLst>
        </pc:spChg>
        <pc:spChg chg="add del mod modVis">
          <ac:chgData name="vonWaldow, Ulrich" userId="c64b3fe1-2fbf-4408-adc4-30add62e991f" providerId="ADAL" clId="{B99A90B8-7D29-4456-AFD4-0F3DBA13A596}" dt="2024-08-27T13:03:48.023" v="104323"/>
          <ac:spMkLst>
            <pc:docMk/>
            <pc:sldMk cId="0" sldId="278"/>
            <ac:spMk id="21" creationId="{2215D167-0D3C-C44F-460F-D9BEF7739855}"/>
          </ac:spMkLst>
        </pc:spChg>
        <pc:spChg chg="add del mod modVis">
          <ac:chgData name="vonWaldow, Ulrich" userId="c64b3fe1-2fbf-4408-adc4-30add62e991f" providerId="ADAL" clId="{B99A90B8-7D29-4456-AFD4-0F3DBA13A596}" dt="2024-08-27T13:03:49.655" v="104349"/>
          <ac:spMkLst>
            <pc:docMk/>
            <pc:sldMk cId="0" sldId="278"/>
            <ac:spMk id="22" creationId="{BD2489FF-B9E2-2AE7-10E3-1BB310CCB400}"/>
          </ac:spMkLst>
        </pc:spChg>
        <pc:spChg chg="add del mod modVis">
          <ac:chgData name="vonWaldow, Ulrich" userId="c64b3fe1-2fbf-4408-adc4-30add62e991f" providerId="ADAL" clId="{B99A90B8-7D29-4456-AFD4-0F3DBA13A596}" dt="2024-08-27T13:03:55.511" v="104375"/>
          <ac:spMkLst>
            <pc:docMk/>
            <pc:sldMk cId="0" sldId="278"/>
            <ac:spMk id="23" creationId="{2FDFAC38-FC6C-D2EF-FC3D-F98EC2D2EC9C}"/>
          </ac:spMkLst>
        </pc:spChg>
        <pc:spChg chg="add del mod modVis">
          <ac:chgData name="vonWaldow, Ulrich" userId="c64b3fe1-2fbf-4408-adc4-30add62e991f" providerId="ADAL" clId="{B99A90B8-7D29-4456-AFD4-0F3DBA13A596}" dt="2024-08-27T13:04:00.459" v="104401"/>
          <ac:spMkLst>
            <pc:docMk/>
            <pc:sldMk cId="0" sldId="278"/>
            <ac:spMk id="24" creationId="{B29D68AA-3EF0-374F-530F-9F59FAFC13A6}"/>
          </ac:spMkLst>
        </pc:spChg>
        <pc:spChg chg="add del mod modVis">
          <ac:chgData name="vonWaldow, Ulrich" userId="c64b3fe1-2fbf-4408-adc4-30add62e991f" providerId="ADAL" clId="{B99A90B8-7D29-4456-AFD4-0F3DBA13A596}" dt="2024-08-27T13:04:04.728" v="104427"/>
          <ac:spMkLst>
            <pc:docMk/>
            <pc:sldMk cId="0" sldId="278"/>
            <ac:spMk id="25" creationId="{91FA7160-0AAF-0F4F-BBB5-E7DAA6FAE7EA}"/>
          </ac:spMkLst>
        </pc:spChg>
        <pc:spChg chg="add del mod modVis">
          <ac:chgData name="vonWaldow, Ulrich" userId="c64b3fe1-2fbf-4408-adc4-30add62e991f" providerId="ADAL" clId="{B99A90B8-7D29-4456-AFD4-0F3DBA13A596}" dt="2024-08-27T13:04:10.248" v="104453"/>
          <ac:spMkLst>
            <pc:docMk/>
            <pc:sldMk cId="0" sldId="278"/>
            <ac:spMk id="26" creationId="{77CB62D7-F5B3-CC31-34C7-7FA9FCEA3D7E}"/>
          </ac:spMkLst>
        </pc:spChg>
        <pc:spChg chg="add del mod modVis">
          <ac:chgData name="vonWaldow, Ulrich" userId="c64b3fe1-2fbf-4408-adc4-30add62e991f" providerId="ADAL" clId="{B99A90B8-7D29-4456-AFD4-0F3DBA13A596}" dt="2024-08-27T13:04:19.527" v="104478"/>
          <ac:spMkLst>
            <pc:docMk/>
            <pc:sldMk cId="0" sldId="278"/>
            <ac:spMk id="27" creationId="{A7214F9D-25D4-8C2E-32E1-2D4C11167BC5}"/>
          </ac:spMkLst>
        </pc:spChg>
        <pc:spChg chg="add del mod modVis">
          <ac:chgData name="vonWaldow, Ulrich" userId="c64b3fe1-2fbf-4408-adc4-30add62e991f" providerId="ADAL" clId="{B99A90B8-7D29-4456-AFD4-0F3DBA13A596}" dt="2024-08-27T13:04:21.783" v="104509"/>
          <ac:spMkLst>
            <pc:docMk/>
            <pc:sldMk cId="0" sldId="278"/>
            <ac:spMk id="28" creationId="{A3D2E794-D891-53A6-9A0E-E46DE40C29B0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04:21.792" v="104511"/>
          <ac:graphicFrameMkLst>
            <pc:docMk/>
            <pc:sldMk cId="0" sldId="278"/>
            <ac:graphicFrameMk id="19" creationId="{22121B56-62FF-88B2-13C5-1B08A6F58460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8-27T13:12:47.790" v="104629"/>
        <pc:sldMkLst>
          <pc:docMk/>
          <pc:sldMk cId="0" sldId="279"/>
        </pc:sldMkLst>
        <pc:spChg chg="mod">
          <ac:chgData name="vonWaldow, Ulrich" userId="c64b3fe1-2fbf-4408-adc4-30add62e991f" providerId="ADAL" clId="{B99A90B8-7D29-4456-AFD4-0F3DBA13A596}" dt="2024-08-27T13:10:42.984" v="104583" actId="948"/>
          <ac:spMkLst>
            <pc:docMk/>
            <pc:sldMk cId="0" sldId="279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1:03.810" v="104621" actId="20577"/>
          <ac:spMkLst>
            <pc:docMk/>
            <pc:sldMk cId="0" sldId="279"/>
            <ac:spMk id="10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10:43" v="104604"/>
          <ac:spMkLst>
            <pc:docMk/>
            <pc:sldMk cId="0" sldId="279"/>
            <ac:spMk id="18" creationId="{D9085A5D-30EE-6C4D-0EBA-0A1ECCEDF3DE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10:43.063" v="104619"/>
          <ac:graphicFrameMkLst>
            <pc:docMk/>
            <pc:sldMk cId="0" sldId="279"/>
            <ac:graphicFrameMk id="19" creationId="{2193E65A-240D-F106-8C03-773521718869}"/>
          </ac:graphicFrameMkLst>
        </pc:graphicFrameChg>
        <pc:picChg chg="add mod">
          <ac:chgData name="vonWaldow, Ulrich" userId="c64b3fe1-2fbf-4408-adc4-30add62e991f" providerId="ADAL" clId="{B99A90B8-7D29-4456-AFD4-0F3DBA13A596}" dt="2024-08-27T13:12:47.790" v="104629"/>
          <ac:picMkLst>
            <pc:docMk/>
            <pc:sldMk cId="0" sldId="279"/>
            <ac:picMk id="21" creationId="{CCDA9F8C-BD93-7D62-3096-F5722FABE1A9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8-27T13:14:00.158" v="104938"/>
        <pc:sldMkLst>
          <pc:docMk/>
          <pc:sldMk cId="0" sldId="280"/>
        </pc:sldMkLst>
        <pc:spChg chg="mod">
          <ac:chgData name="vonWaldow, Ulrich" userId="c64b3fe1-2fbf-4408-adc4-30add62e991f" providerId="ADAL" clId="{B99A90B8-7D29-4456-AFD4-0F3DBA13A596}" dt="2024-08-27T13:13:37.648" v="104906" actId="948"/>
          <ac:spMkLst>
            <pc:docMk/>
            <pc:sldMk cId="0" sldId="280"/>
            <ac:spMk id="2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3:13:57.968" v="104934" actId="478"/>
          <ac:spMkLst>
            <pc:docMk/>
            <pc:sldMk cId="0" sldId="280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2:55.707" v="104631" actId="20577"/>
          <ac:spMkLst>
            <pc:docMk/>
            <pc:sldMk cId="0" sldId="280"/>
            <ac:spMk id="10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13:21.904" v="104654"/>
          <ac:spMkLst>
            <pc:docMk/>
            <pc:sldMk cId="0" sldId="280"/>
            <ac:spMk id="18" creationId="{58FF170F-7411-E877-7BB5-D1D38762F36C}"/>
          </ac:spMkLst>
        </pc:spChg>
        <pc:spChg chg="add del mod modVis">
          <ac:chgData name="vonWaldow, Ulrich" userId="c64b3fe1-2fbf-4408-adc4-30add62e991f" providerId="ADAL" clId="{B99A90B8-7D29-4456-AFD4-0F3DBA13A596}" dt="2024-08-27T13:13:24.794" v="104694"/>
          <ac:spMkLst>
            <pc:docMk/>
            <pc:sldMk cId="0" sldId="280"/>
            <ac:spMk id="20" creationId="{9C3FDDE5-5141-5791-E022-62F9A4D23F8B}"/>
          </ac:spMkLst>
        </pc:spChg>
        <pc:spChg chg="add del mod modVis">
          <ac:chgData name="vonWaldow, Ulrich" userId="c64b3fe1-2fbf-4408-adc4-30add62e991f" providerId="ADAL" clId="{B99A90B8-7D29-4456-AFD4-0F3DBA13A596}" dt="2024-08-27T13:13:27.708" v="104730"/>
          <ac:spMkLst>
            <pc:docMk/>
            <pc:sldMk cId="0" sldId="280"/>
            <ac:spMk id="21" creationId="{565C95A4-1DD0-8709-8FFB-E56219665D58}"/>
          </ac:spMkLst>
        </pc:spChg>
        <pc:spChg chg="add del mod modVis">
          <ac:chgData name="vonWaldow, Ulrich" userId="c64b3fe1-2fbf-4408-adc4-30add62e991f" providerId="ADAL" clId="{B99A90B8-7D29-4456-AFD4-0F3DBA13A596}" dt="2024-08-27T13:13:28.560" v="104757"/>
          <ac:spMkLst>
            <pc:docMk/>
            <pc:sldMk cId="0" sldId="280"/>
            <ac:spMk id="22" creationId="{C4F475BA-FBA7-BF4D-F90B-B9FADB4673D1}"/>
          </ac:spMkLst>
        </pc:spChg>
        <pc:spChg chg="add del mod modVis">
          <ac:chgData name="vonWaldow, Ulrich" userId="c64b3fe1-2fbf-4408-adc4-30add62e991f" providerId="ADAL" clId="{B99A90B8-7D29-4456-AFD4-0F3DBA13A596}" dt="2024-08-27T13:13:29.329" v="104784"/>
          <ac:spMkLst>
            <pc:docMk/>
            <pc:sldMk cId="0" sldId="280"/>
            <ac:spMk id="23" creationId="{B8D3949C-EAB2-3CD1-3AAF-3824A62D0A26}"/>
          </ac:spMkLst>
        </pc:spChg>
        <pc:spChg chg="add del mod modVis">
          <ac:chgData name="vonWaldow, Ulrich" userId="c64b3fe1-2fbf-4408-adc4-30add62e991f" providerId="ADAL" clId="{B99A90B8-7D29-4456-AFD4-0F3DBA13A596}" dt="2024-08-27T13:13:31.127" v="104813"/>
          <ac:spMkLst>
            <pc:docMk/>
            <pc:sldMk cId="0" sldId="280"/>
            <ac:spMk id="24" creationId="{2A2C06AB-B0A5-B365-77AD-FE45A573DAD5}"/>
          </ac:spMkLst>
        </pc:spChg>
        <pc:spChg chg="add del mod modVis">
          <ac:chgData name="vonWaldow, Ulrich" userId="c64b3fe1-2fbf-4408-adc4-30add62e991f" providerId="ADAL" clId="{B99A90B8-7D29-4456-AFD4-0F3DBA13A596}" dt="2024-08-27T13:13:31.829" v="104838"/>
          <ac:spMkLst>
            <pc:docMk/>
            <pc:sldMk cId="0" sldId="280"/>
            <ac:spMk id="25" creationId="{4793AA6E-5E9A-DBDD-3BFF-34121DE4FDAD}"/>
          </ac:spMkLst>
        </pc:spChg>
        <pc:spChg chg="add del mod modVis">
          <ac:chgData name="vonWaldow, Ulrich" userId="c64b3fe1-2fbf-4408-adc4-30add62e991f" providerId="ADAL" clId="{B99A90B8-7D29-4456-AFD4-0F3DBA13A596}" dt="2024-08-27T13:13:35.454" v="104873"/>
          <ac:spMkLst>
            <pc:docMk/>
            <pc:sldMk cId="0" sldId="280"/>
            <ac:spMk id="26" creationId="{A244572B-4EA0-20C0-A5DD-168AA11ED0C5}"/>
          </ac:spMkLst>
        </pc:spChg>
        <pc:spChg chg="add del mod modVis">
          <ac:chgData name="vonWaldow, Ulrich" userId="c64b3fe1-2fbf-4408-adc4-30add62e991f" providerId="ADAL" clId="{B99A90B8-7D29-4456-AFD4-0F3DBA13A596}" dt="2024-08-27T13:13:36.910" v="104902"/>
          <ac:spMkLst>
            <pc:docMk/>
            <pc:sldMk cId="0" sldId="280"/>
            <ac:spMk id="27" creationId="{C44F2AE2-1AF9-C4D2-2A53-463CC0D97DF0}"/>
          </ac:spMkLst>
        </pc:spChg>
        <pc:spChg chg="add del mod modVis">
          <ac:chgData name="vonWaldow, Ulrich" userId="c64b3fe1-2fbf-4408-adc4-30add62e991f" providerId="ADAL" clId="{B99A90B8-7D29-4456-AFD4-0F3DBA13A596}" dt="2024-08-27T13:13:37.664" v="104927"/>
          <ac:spMkLst>
            <pc:docMk/>
            <pc:sldMk cId="0" sldId="280"/>
            <ac:spMk id="28" creationId="{795B1317-3001-8067-8AB9-13394C31AA6D}"/>
          </ac:spMkLst>
        </pc:spChg>
        <pc:spChg chg="add mod">
          <ac:chgData name="vonWaldow, Ulrich" userId="c64b3fe1-2fbf-4408-adc4-30add62e991f" providerId="ADAL" clId="{B99A90B8-7D29-4456-AFD4-0F3DBA13A596}" dt="2024-08-27T13:13:57.968" v="104934" actId="478"/>
          <ac:spMkLst>
            <pc:docMk/>
            <pc:sldMk cId="0" sldId="280"/>
            <ac:spMk id="32" creationId="{542EC99F-CE35-D65A-D470-B3CA551E2D55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13:37.664" v="104929"/>
          <ac:graphicFrameMkLst>
            <pc:docMk/>
            <pc:sldMk cId="0" sldId="280"/>
            <ac:graphicFrameMk id="19" creationId="{77A5B754-15DF-939C-B0CE-77495FBBBA95}"/>
          </ac:graphicFrameMkLst>
        </pc:graphicFrameChg>
        <pc:picChg chg="add mod">
          <ac:chgData name="vonWaldow, Ulrich" userId="c64b3fe1-2fbf-4408-adc4-30add62e991f" providerId="ADAL" clId="{B99A90B8-7D29-4456-AFD4-0F3DBA13A596}" dt="2024-08-27T13:14:00.158" v="104938"/>
          <ac:picMkLst>
            <pc:docMk/>
            <pc:sldMk cId="0" sldId="280"/>
            <ac:picMk id="30" creationId="{C5022B73-C19B-670B-4A6E-BD0588550004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8-27T13:14:54.056" v="104951"/>
        <pc:sldMkLst>
          <pc:docMk/>
          <pc:sldMk cId="0" sldId="281"/>
        </pc:sldMkLst>
        <pc:spChg chg="del">
          <ac:chgData name="vonWaldow, Ulrich" userId="c64b3fe1-2fbf-4408-adc4-30add62e991f" providerId="ADAL" clId="{B99A90B8-7D29-4456-AFD4-0F3DBA13A596}" dt="2024-08-27T13:14:50.976" v="104945" actId="478"/>
          <ac:spMkLst>
            <pc:docMk/>
            <pc:sldMk cId="0" sldId="281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32.905" v="104942" actId="20577"/>
          <ac:spMkLst>
            <pc:docMk/>
            <pc:sldMk cId="0" sldId="281"/>
            <ac:spMk id="10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11.353" v="104939" actId="20577"/>
          <ac:spMkLst>
            <pc:docMk/>
            <pc:sldMk cId="0" sldId="281"/>
            <ac:spMk id="1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13.975" v="104940" actId="20577"/>
          <ac:spMkLst>
            <pc:docMk/>
            <pc:sldMk cId="0" sldId="281"/>
            <ac:spMk id="14" creationId="{00000000-0000-0000-0000-000000000000}"/>
          </ac:spMkLst>
        </pc:spChg>
        <pc:spChg chg="add mod">
          <ac:chgData name="vonWaldow, Ulrich" userId="c64b3fe1-2fbf-4408-adc4-30add62e991f" providerId="ADAL" clId="{B99A90B8-7D29-4456-AFD4-0F3DBA13A596}" dt="2024-08-27T13:14:50.976" v="104945" actId="478"/>
          <ac:spMkLst>
            <pc:docMk/>
            <pc:sldMk cId="0" sldId="281"/>
            <ac:spMk id="21" creationId="{C4631AF4-6A4D-D5F2-F983-6FC0E8DD707F}"/>
          </ac:spMkLst>
        </pc:spChg>
        <pc:picChg chg="add mod">
          <ac:chgData name="vonWaldow, Ulrich" userId="c64b3fe1-2fbf-4408-adc4-30add62e991f" providerId="ADAL" clId="{B99A90B8-7D29-4456-AFD4-0F3DBA13A596}" dt="2024-08-27T13:14:54.056" v="104951"/>
          <ac:picMkLst>
            <pc:docMk/>
            <pc:sldMk cId="0" sldId="281"/>
            <ac:picMk id="19" creationId="{58282565-7716-CF13-C053-C0C0104C1845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9-03T12:24:19.284" v="112131"/>
        <pc:sldMkLst>
          <pc:docMk/>
          <pc:sldMk cId="1685869789" sldId="709"/>
        </pc:sldMkLst>
        <pc:spChg chg="add del mod modVis">
          <ac:chgData name="vonWaldow, Ulrich" userId="c64b3fe1-2fbf-4408-adc4-30add62e991f" providerId="ADAL" clId="{B99A90B8-7D29-4456-AFD4-0F3DBA13A596}" dt="2024-09-03T12:23:17.467" v="112109"/>
          <ac:spMkLst>
            <pc:docMk/>
            <pc:sldMk cId="1685869789" sldId="709"/>
            <ac:spMk id="5" creationId="{9ADEBBEE-AF19-0513-8F47-94DF34AF40B6}"/>
          </ac:spMkLst>
        </pc:spChg>
        <pc:spChg chg="mod ord">
          <ac:chgData name="vonWaldow, Ulrich" userId="c64b3fe1-2fbf-4408-adc4-30add62e991f" providerId="ADAL" clId="{B99A90B8-7D29-4456-AFD4-0F3DBA13A596}" dt="2024-09-03T12:23:17.464" v="112105"/>
          <ac:spMkLst>
            <pc:docMk/>
            <pc:sldMk cId="1685869789" sldId="709"/>
            <ac:spMk id="8" creationId="{0C197D91-23C3-5511-D266-97DA80548126}"/>
          </ac:spMkLst>
        </pc:spChg>
        <pc:spChg chg="mod ord">
          <ac:chgData name="vonWaldow, Ulrich" userId="c64b3fe1-2fbf-4408-adc4-30add62e991f" providerId="ADAL" clId="{B99A90B8-7D29-4456-AFD4-0F3DBA13A596}" dt="2024-09-03T12:23:17.458" v="112085"/>
          <ac:spMkLst>
            <pc:docMk/>
            <pc:sldMk cId="1685869789" sldId="709"/>
            <ac:spMk id="11" creationId="{905AB69D-D6BC-DF5B-B1BB-3AC245411018}"/>
          </ac:spMkLst>
        </pc:spChg>
        <pc:spChg chg="mod ord">
          <ac:chgData name="vonWaldow, Ulrich" userId="c64b3fe1-2fbf-4408-adc4-30add62e991f" providerId="ADAL" clId="{B99A90B8-7D29-4456-AFD4-0F3DBA13A596}" dt="2024-09-03T12:24:14.169" v="112129" actId="207"/>
          <ac:spMkLst>
            <pc:docMk/>
            <pc:sldMk cId="1685869789" sldId="709"/>
            <ac:spMk id="14" creationId="{3016BC36-00BD-C1FF-0D7D-7FDD6B5C8D3F}"/>
          </ac:spMkLst>
        </pc:spChg>
        <pc:spChg chg="mod ord">
          <ac:chgData name="vonWaldow, Ulrich" userId="c64b3fe1-2fbf-4408-adc4-30add62e991f" providerId="ADAL" clId="{B99A90B8-7D29-4456-AFD4-0F3DBA13A596}" dt="2024-09-03T12:24:19.284" v="112131"/>
          <ac:spMkLst>
            <pc:docMk/>
            <pc:sldMk cId="1685869789" sldId="709"/>
            <ac:spMk id="15" creationId="{C94DDDAC-9E10-3EDD-1980-94C2AC39FD70}"/>
          </ac:spMkLst>
        </pc:spChg>
        <pc:spChg chg="mod ord">
          <ac:chgData name="vonWaldow, Ulrich" userId="c64b3fe1-2fbf-4408-adc4-30add62e991f" providerId="ADAL" clId="{B99A90B8-7D29-4456-AFD4-0F3DBA13A596}" dt="2024-09-03T12:23:54.028" v="112120" actId="207"/>
          <ac:spMkLst>
            <pc:docMk/>
            <pc:sldMk cId="1685869789" sldId="709"/>
            <ac:spMk id="18" creationId="{9AAE5E5E-19CE-D9ED-AE8B-6C859962979A}"/>
          </ac:spMkLst>
        </pc:spChg>
        <pc:spChg chg="mod ord">
          <ac:chgData name="vonWaldow, Ulrich" userId="c64b3fe1-2fbf-4408-adc4-30add62e991f" providerId="ADAL" clId="{B99A90B8-7D29-4456-AFD4-0F3DBA13A596}" dt="2024-09-03T12:23:54.028" v="112120" actId="207"/>
          <ac:spMkLst>
            <pc:docMk/>
            <pc:sldMk cId="1685869789" sldId="709"/>
            <ac:spMk id="19" creationId="{FB655FD7-867A-A21E-D8E2-63A2ED65DDE4}"/>
          </ac:spMkLst>
        </pc:spChg>
        <pc:grpChg chg="mod ord">
          <ac:chgData name="vonWaldow, Ulrich" userId="c64b3fe1-2fbf-4408-adc4-30add62e991f" providerId="ADAL" clId="{B99A90B8-7D29-4456-AFD4-0F3DBA13A596}" dt="2024-09-03T12:23:17.462" v="112099"/>
          <ac:grpSpMkLst>
            <pc:docMk/>
            <pc:sldMk cId="1685869789" sldId="709"/>
            <ac:grpSpMk id="36" creationId="{A94CD13A-54DE-F756-1AEA-22E5BF3359B4}"/>
          </ac:grpSpMkLst>
        </pc:grpChg>
        <pc:grpChg chg="mod ord">
          <ac:chgData name="vonWaldow, Ulrich" userId="c64b3fe1-2fbf-4408-adc4-30add62e991f" providerId="ADAL" clId="{B99A90B8-7D29-4456-AFD4-0F3DBA13A596}" dt="2024-09-03T12:23:17.463" v="112101"/>
          <ac:grpSpMkLst>
            <pc:docMk/>
            <pc:sldMk cId="1685869789" sldId="709"/>
            <ac:grpSpMk id="37" creationId="{B580D521-912D-FC59-6858-F41984E5B3C6}"/>
          </ac:grpSpMkLst>
        </pc:grpChg>
        <pc:grpChg chg="mod ord">
          <ac:chgData name="vonWaldow, Ulrich" userId="c64b3fe1-2fbf-4408-adc4-30add62e991f" providerId="ADAL" clId="{B99A90B8-7D29-4456-AFD4-0F3DBA13A596}" dt="2024-09-03T12:23:17.464" v="112103"/>
          <ac:grpSpMkLst>
            <pc:docMk/>
            <pc:sldMk cId="1685869789" sldId="709"/>
            <ac:grpSpMk id="38" creationId="{B034077F-C281-F543-3256-38307C8B0720}"/>
          </ac:grpSpMkLst>
        </pc:grpChg>
        <pc:graphicFrameChg chg="mod">
          <ac:chgData name="vonWaldow, Ulrich" userId="c64b3fe1-2fbf-4408-adc4-30add62e991f" providerId="ADAL" clId="{B99A90B8-7D29-4456-AFD4-0F3DBA13A596}" dt="2024-09-03T12:23:17.469" v="112111"/>
          <ac:graphicFrameMkLst>
            <pc:docMk/>
            <pc:sldMk cId="1685869789" sldId="709"/>
            <ac:graphicFrameMk id="4" creationId="{8EE9B718-65D1-6611-CB8F-9FE04C42A61B}"/>
          </ac:graphicFrameMkLst>
        </pc:graphicFrameChg>
        <pc:picChg chg="add mod ord modCrop">
          <ac:chgData name="vonWaldow, Ulrich" userId="c64b3fe1-2fbf-4408-adc4-30add62e991f" providerId="ADAL" clId="{B99A90B8-7D29-4456-AFD4-0F3DBA13A596}" dt="2024-09-03T12:24:02.120" v="112122" actId="197"/>
          <ac:picMkLst>
            <pc:docMk/>
            <pc:sldMk cId="1685869789" sldId="709"/>
            <ac:picMk id="3" creationId="{07B47EC5-1649-AFD9-7B2F-23EB1A9FE0E7}"/>
          </ac:picMkLst>
        </pc:picChg>
        <pc:picChg chg="mod ord">
          <ac:chgData name="vonWaldow, Ulrich" userId="c64b3fe1-2fbf-4408-adc4-30add62e991f" providerId="ADAL" clId="{B99A90B8-7D29-4456-AFD4-0F3DBA13A596}" dt="2024-09-03T12:23:17.462" v="112097"/>
          <ac:picMkLst>
            <pc:docMk/>
            <pc:sldMk cId="1685869789" sldId="709"/>
            <ac:picMk id="23" creationId="{4317E28A-F1EA-6FD2-EDD9-8C23DAA7763F}"/>
          </ac:picMkLst>
        </pc:picChg>
        <pc:cxnChg chg="mod ord">
          <ac:chgData name="vonWaldow, Ulrich" userId="c64b3fe1-2fbf-4408-adc4-30add62e991f" providerId="ADAL" clId="{B99A90B8-7D29-4456-AFD4-0F3DBA13A596}" dt="2024-09-03T12:23:17.460" v="112091"/>
          <ac:cxnSpMkLst>
            <pc:docMk/>
            <pc:sldMk cId="1685869789" sldId="709"/>
            <ac:cxnSpMk id="16" creationId="{9BC2C02E-5C64-2D0D-97BB-CDDB33F7DB08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3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37"/>
            <ac:spMk id="2" creationId="{F4AB3E3C-1D1F-CC7B-B7DD-C98EBCD8F96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8:19.301" v="112047"/>
        <pc:sldMkLst>
          <pc:docMk/>
          <pc:sldMk cId="0" sldId="739"/>
        </pc:sldMkLst>
        <pc:spChg chg="add del mod modVis">
          <ac:chgData name="vonWaldow, Ulrich" userId="c64b3fe1-2fbf-4408-adc4-30add62e991f" providerId="ADAL" clId="{B99A90B8-7D29-4456-AFD4-0F3DBA13A596}" dt="2024-09-03T12:18:19.278" v="112032"/>
          <ac:spMkLst>
            <pc:docMk/>
            <pc:sldMk cId="0" sldId="739"/>
            <ac:spMk id="3" creationId="{AC04F755-F1E0-E9B8-5413-A25B1964D597}"/>
          </ac:spMkLst>
        </pc:spChg>
        <pc:spChg chg="mod">
          <ac:chgData name="vonWaldow, Ulrich" userId="c64b3fe1-2fbf-4408-adc4-30add62e991f" providerId="ADAL" clId="{B99A90B8-7D29-4456-AFD4-0F3DBA13A596}" dt="2024-09-03T12:18:19.258" v="112011" actId="948"/>
          <ac:spMkLst>
            <pc:docMk/>
            <pc:sldMk cId="0" sldId="739"/>
            <ac:spMk id="1268738" creationId="{00000000-0000-0000-0000-000000000000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18:19.301" v="112047"/>
          <ac:graphicFrameMkLst>
            <pc:docMk/>
            <pc:sldMk cId="0" sldId="739"/>
            <ac:graphicFrameMk id="4" creationId="{70B58EBA-BFEE-97A2-B0AE-7BDDEE02A133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8:45.385" v="112048" actId="20577"/>
        <pc:sldMkLst>
          <pc:docMk/>
          <pc:sldMk cId="0" sldId="740"/>
        </pc:sldMkLst>
        <pc:spChg chg="mod">
          <ac:chgData name="vonWaldow, Ulrich" userId="c64b3fe1-2fbf-4408-adc4-30add62e991f" providerId="ADAL" clId="{B99A90B8-7D29-4456-AFD4-0F3DBA13A596}" dt="2024-09-03T12:18:45.385" v="112048" actId="20577"/>
          <ac:spMkLst>
            <pc:docMk/>
            <pc:sldMk cId="0" sldId="740"/>
            <ac:spMk id="2" creationId="{CDBDAEA9-7208-02B5-6ABC-CDBA0D06390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6"/>
            <ac:spMk id="2" creationId="{1A42C0EE-FEE7-5506-1F64-6F3111A1B99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7"/>
            <ac:spMk id="2" creationId="{BC870670-8252-BD64-414F-49F8A8277F14}"/>
          </ac:spMkLst>
        </pc:spChg>
      </pc:sldChg>
      <pc:sldChg chg="modSp mod">
        <pc:chgData name="vonWaldow, Ulrich" userId="c64b3fe1-2fbf-4408-adc4-30add62e991f" providerId="ADAL" clId="{B99A90B8-7D29-4456-AFD4-0F3DBA13A596}" dt="2024-09-03T12:19:20.783" v="112051" actId="20577"/>
        <pc:sldMkLst>
          <pc:docMk/>
          <pc:sldMk cId="0" sldId="748"/>
        </pc:sldMkLst>
        <pc:spChg chg="mod">
          <ac:chgData name="vonWaldow, Ulrich" userId="c64b3fe1-2fbf-4408-adc4-30add62e991f" providerId="ADAL" clId="{B99A90B8-7D29-4456-AFD4-0F3DBA13A596}" dt="2024-09-03T12:19:20.783" v="112051" actId="20577"/>
          <ac:spMkLst>
            <pc:docMk/>
            <pc:sldMk cId="0" sldId="748"/>
            <ac:spMk id="2" creationId="{B7A1F97B-D1AF-28DA-441E-7389A17E59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7" creationId="{A97E014A-9AC6-A158-4B0B-D30CBA4D877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8" creationId="{4B2E019C-2B3D-0D52-D79D-84C75A3475D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9" creationId="{E7810318-EA1C-AE0B-BD02-56D881C6BC1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0" creationId="{2C2BAB37-E48B-96FB-7B35-7A9EE28F693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1" creationId="{1DC26875-DAF1-3648-6592-530F8EF31A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2" creationId="{F85F4333-10C6-1E3E-A349-69FE8EF35CD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3" creationId="{FA75E69E-082C-E5F6-033D-1976419A16B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4" creationId="{EF971277-5070-74BB-1280-F2754B1C91B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5" creationId="{9FA8C61A-1EC4-F96D-F400-FD7A0CD7F93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6" creationId="{5D3C7119-A3A3-6A75-EB1E-21485921859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7" creationId="{C34FE3A6-C2AA-BCCE-325D-06A9806435FD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0" sldId="748"/>
            <ac:grpSpMk id="6" creationId="{DF5E82CE-7DD1-0C08-B32D-C3E4278F3B7E}"/>
          </ac:grpSpMkLst>
        </pc:gr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9"/>
        </pc:sldMkLst>
        <pc:spChg chg="mod">
          <ac:chgData name="vonWaldow, Ulrich" userId="c64b3fe1-2fbf-4408-adc4-30add62e991f" providerId="ADAL" clId="{B99A90B8-7D29-4456-AFD4-0F3DBA13A596}" dt="2024-08-28T07:43:05.065" v="105508" actId="20577"/>
          <ac:spMkLst>
            <pc:docMk/>
            <pc:sldMk cId="0" sldId="749"/>
            <ac:spMk id="2" creationId="{5CD34FF2-9273-3F6D-AC4F-77F20CF13AF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9"/>
            <ac:spMk id="10" creationId="{3F922850-CFC7-B011-E035-68818A3829C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9"/>
            <ac:spMk id="13" creationId="{A6640947-4066-B3FC-C323-1C94B0DF64D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070961039" sldId="76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0961039" sldId="764"/>
            <ac:spMk id="3" creationId="{19D46863-59DA-D5AE-C407-5D3EE1B76DE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69142355" sldId="76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9142355" sldId="765"/>
            <ac:spMk id="3" creationId="{9CC90101-DADD-9E87-F6D6-27C2D18775F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648616334" sldId="76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48616334" sldId="766"/>
            <ac:spMk id="3" creationId="{1A6E3C88-0EE4-0BB3-70A6-4C7898CAA0B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9059312" sldId="7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9059312" sldId="767"/>
            <ac:spMk id="3" creationId="{C9C161B6-6B62-24EB-569C-A68212207E4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707553390" sldId="76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707553390" sldId="769"/>
            <ac:spMk id="3" creationId="{B8427B49-3949-F6B9-4DD1-675B7DA5071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8-28T07:44:04.887" v="105518"/>
        <pc:sldMkLst>
          <pc:docMk/>
          <pc:sldMk cId="152485573" sldId="770"/>
        </pc:sldMkLst>
        <pc:spChg chg="mod">
          <ac:chgData name="vonWaldow, Ulrich" userId="c64b3fe1-2fbf-4408-adc4-30add62e991f" providerId="ADAL" clId="{B99A90B8-7D29-4456-AFD4-0F3DBA13A596}" dt="2024-08-27T14:04:12.956" v="105162" actId="948"/>
          <ac:spMkLst>
            <pc:docMk/>
            <pc:sldMk cId="152485573" sldId="770"/>
            <ac:spMk id="2" creationId="{12E44898-537F-35C7-CF40-A33DB78C3A6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2485573" sldId="770"/>
            <ac:spMk id="3" creationId="{0C6B0B7C-B6F9-C495-66BB-9DD49D0AE4AB}"/>
          </ac:spMkLst>
        </pc:spChg>
        <pc:spChg chg="add del mod modVis">
          <ac:chgData name="vonWaldow, Ulrich" userId="c64b3fe1-2fbf-4408-adc4-30add62e991f" providerId="ADAL" clId="{B99A90B8-7D29-4456-AFD4-0F3DBA13A596}" dt="2024-08-27T14:04:13.034" v="105183"/>
          <ac:spMkLst>
            <pc:docMk/>
            <pc:sldMk cId="152485573" sldId="770"/>
            <ac:spMk id="4" creationId="{CE1CEBA8-B9E3-0FB9-58CB-9A8A6C582CBF}"/>
          </ac:spMkLst>
        </pc:spChg>
        <pc:graphicFrameChg chg="mod">
          <ac:chgData name="vonWaldow, Ulrich" userId="c64b3fe1-2fbf-4408-adc4-30add62e991f" providerId="ADAL" clId="{B99A90B8-7D29-4456-AFD4-0F3DBA13A596}" dt="2024-08-27T14:04:13.038" v="105185"/>
          <ac:graphicFrameMkLst>
            <pc:docMk/>
            <pc:sldMk cId="152485573" sldId="770"/>
            <ac:graphicFrameMk id="5" creationId="{A9A70B1C-F17D-6B0C-1508-4ABBAAF824F8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8-27T14:04:30.487" v="105186" actId="20577"/>
        <pc:sldMkLst>
          <pc:docMk/>
          <pc:sldMk cId="2610752256" sldId="771"/>
        </pc:sldMkLst>
        <pc:spChg chg="mod">
          <ac:chgData name="vonWaldow, Ulrich" userId="c64b3fe1-2fbf-4408-adc4-30add62e991f" providerId="ADAL" clId="{B99A90B8-7D29-4456-AFD4-0F3DBA13A596}" dt="2024-08-27T14:04:30.487" v="105186" actId="20577"/>
          <ac:spMkLst>
            <pc:docMk/>
            <pc:sldMk cId="2610752256" sldId="771"/>
            <ac:spMk id="3" creationId="{A261E260-E6BE-AB1F-EA3B-D05B1ABA497B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1:29" v="110300" actId="6549"/>
        <pc:sldMkLst>
          <pc:docMk/>
          <pc:sldMk cId="2502756162" sldId="772"/>
        </pc:sldMkLst>
        <pc:spChg chg="mod">
          <ac:chgData name="vonWaldow, Ulrich" userId="c64b3fe1-2fbf-4408-adc4-30add62e991f" providerId="ADAL" clId="{B99A90B8-7D29-4456-AFD4-0F3DBA13A596}" dt="2024-09-03T12:01:25.017" v="110276" actId="948"/>
          <ac:spMkLst>
            <pc:docMk/>
            <pc:sldMk cId="2502756162" sldId="772"/>
            <ac:spMk id="2" creationId="{C2E5DD62-2622-DD6B-2E11-86A90CAC7305}"/>
          </ac:spMkLst>
        </pc:spChg>
        <pc:spChg chg="mod">
          <ac:chgData name="vonWaldow, Ulrich" userId="c64b3fe1-2fbf-4408-adc4-30add62e991f" providerId="ADAL" clId="{B99A90B8-7D29-4456-AFD4-0F3DBA13A596}" dt="2024-09-03T12:01:29" v="110300" actId="6549"/>
          <ac:spMkLst>
            <pc:docMk/>
            <pc:sldMk cId="2502756162" sldId="772"/>
            <ac:spMk id="3" creationId="{024B2E50-A500-9380-CDFB-A03AC2F4F68B}"/>
          </ac:spMkLst>
        </pc:spChg>
        <pc:spChg chg="add del mod modVis">
          <ac:chgData name="vonWaldow, Ulrich" userId="c64b3fe1-2fbf-4408-adc4-30add62e991f" providerId="ADAL" clId="{B99A90B8-7D29-4456-AFD4-0F3DBA13A596}" dt="2024-09-03T12:01:24.180" v="110272"/>
          <ac:spMkLst>
            <pc:docMk/>
            <pc:sldMk cId="2502756162" sldId="772"/>
            <ac:spMk id="5" creationId="{088BC6D1-14A9-C914-EA0A-D6CDDEC55F3E}"/>
          </ac:spMkLst>
        </pc:spChg>
        <pc:spChg chg="add del mod modVis">
          <ac:chgData name="vonWaldow, Ulrich" userId="c64b3fe1-2fbf-4408-adc4-30add62e991f" providerId="ADAL" clId="{B99A90B8-7D29-4456-AFD4-0F3DBA13A596}" dt="2024-09-03T12:01:25.034" v="110297"/>
          <ac:spMkLst>
            <pc:docMk/>
            <pc:sldMk cId="2502756162" sldId="772"/>
            <ac:spMk id="6" creationId="{7A96B88E-D102-E4E2-E28B-D4FBA6FDE4B1}"/>
          </ac:spMkLst>
        </pc:spChg>
        <pc:graphicFrameChg chg="mod">
          <ac:chgData name="vonWaldow, Ulrich" userId="c64b3fe1-2fbf-4408-adc4-30add62e991f" providerId="ADAL" clId="{B99A90B8-7D29-4456-AFD4-0F3DBA13A596}" dt="2024-09-03T12:01:25.036" v="110299"/>
          <ac:graphicFrameMkLst>
            <pc:docMk/>
            <pc:sldMk cId="2502756162" sldId="772"/>
            <ac:graphicFrameMk id="7" creationId="{54A4763B-A1A8-6744-EC5E-0A4B3EDCBCA2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592253419" sldId="77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592253419" sldId="773"/>
            <ac:spMk id="3" creationId="{73D6C7F3-4AF3-10AB-388A-C73B0D1AA0C9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968823800" sldId="77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8823800" sldId="774"/>
            <ac:spMk id="3" creationId="{8BD95C16-9912-6FED-BADA-46FB457D7130}"/>
          </ac:spMkLst>
        </pc:spChg>
      </pc:sldChg>
      <pc:sldChg chg="modSp mod">
        <pc:chgData name="vonWaldow, Ulrich" userId="c64b3fe1-2fbf-4408-adc4-30add62e991f" providerId="ADAL" clId="{B99A90B8-7D29-4456-AFD4-0F3DBA13A596}" dt="2024-09-03T12:01:58.879" v="110307"/>
        <pc:sldMkLst>
          <pc:docMk/>
          <pc:sldMk cId="2709389428" sldId="775"/>
        </pc:sldMkLst>
        <pc:spChg chg="mod">
          <ac:chgData name="vonWaldow, Ulrich" userId="c64b3fe1-2fbf-4408-adc4-30add62e991f" providerId="ADAL" clId="{B99A90B8-7D29-4456-AFD4-0F3DBA13A596}" dt="2024-09-03T12:01:58.879" v="110307"/>
          <ac:spMkLst>
            <pc:docMk/>
            <pc:sldMk cId="2709389428" sldId="775"/>
            <ac:spMk id="3" creationId="{7ADDA47E-7B89-BA37-689B-BE79BC3CD2C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07303022" sldId="79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07303022" sldId="792"/>
            <ac:spMk id="9" creationId="{5F93379C-92BD-9376-E0B9-CF9689618D50}"/>
          </ac:spMkLst>
        </pc:spChg>
      </pc:sldChg>
      <pc:sldChg chg="modSp">
        <pc:chgData name="vonWaldow, Ulrich" userId="c64b3fe1-2fbf-4408-adc4-30add62e991f" providerId="ADAL" clId="{B99A90B8-7D29-4456-AFD4-0F3DBA13A596}" dt="2024-09-03T12:07:41.052" v="111331"/>
        <pc:sldMkLst>
          <pc:docMk/>
          <pc:sldMk cId="772142070" sldId="843"/>
        </pc:sldMkLst>
        <pc:spChg chg="mod">
          <ac:chgData name="vonWaldow, Ulrich" userId="c64b3fe1-2fbf-4408-adc4-30add62e991f" providerId="ADAL" clId="{B99A90B8-7D29-4456-AFD4-0F3DBA13A596}" dt="2024-09-03T12:07:41.052" v="111331"/>
          <ac:spMkLst>
            <pc:docMk/>
            <pc:sldMk cId="772142070" sldId="843"/>
            <ac:spMk id="28" creationId="{F413FA53-E209-C0E0-8B7E-A532B9D1A73D}"/>
          </ac:spMkLst>
        </pc:spChg>
        <pc:spChg chg="mod">
          <ac:chgData name="vonWaldow, Ulrich" userId="c64b3fe1-2fbf-4408-adc4-30add62e991f" providerId="ADAL" clId="{B99A90B8-7D29-4456-AFD4-0F3DBA13A596}" dt="2024-09-03T12:07:41.052" v="111331"/>
          <ac:spMkLst>
            <pc:docMk/>
            <pc:sldMk cId="772142070" sldId="843"/>
            <ac:spMk id="110" creationId="{E665991F-FB8F-B486-5A63-BC1E5044CD4B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8-27T14:07:40.707" v="105408" actId="20577"/>
        <pc:sldMkLst>
          <pc:docMk/>
          <pc:sldMk cId="1102400463" sldId="844"/>
        </pc:sldMkLst>
        <pc:spChg chg="mod ord">
          <ac:chgData name="vonWaldow, Ulrich" userId="c64b3fe1-2fbf-4408-adc4-30add62e991f" providerId="ADAL" clId="{B99A90B8-7D29-4456-AFD4-0F3DBA13A596}" dt="2024-08-27T14:07:07.866" v="105298" actId="948"/>
          <ac:spMkLst>
            <pc:docMk/>
            <pc:sldMk cId="1102400463" sldId="844"/>
            <ac:spMk id="2" creationId="{88DBF6C6-562A-8831-E9D0-BA1498AB94A1}"/>
          </ac:spMkLst>
        </pc:spChg>
        <pc:spChg chg="add del mod modVis">
          <ac:chgData name="vonWaldow, Ulrich" userId="c64b3fe1-2fbf-4408-adc4-30add62e991f" providerId="ADAL" clId="{B99A90B8-7D29-4456-AFD4-0F3DBA13A596}" dt="2024-08-27T14:07:07.938" v="105319"/>
          <ac:spMkLst>
            <pc:docMk/>
            <pc:sldMk cId="1102400463" sldId="844"/>
            <ac:spMk id="3" creationId="{2A5D5569-1D89-23F5-7BF9-D8B5A7D2E2ED}"/>
          </ac:spMkLst>
        </pc:spChg>
        <pc:spChg chg="mod ord">
          <ac:chgData name="vonWaldow, Ulrich" userId="c64b3fe1-2fbf-4408-adc4-30add62e991f" providerId="ADAL" clId="{B99A90B8-7D29-4456-AFD4-0F3DBA13A596}" dt="2024-08-27T14:07:40.707" v="105408" actId="20577"/>
          <ac:spMkLst>
            <pc:docMk/>
            <pc:sldMk cId="1102400463" sldId="844"/>
            <ac:spMk id="6" creationId="{5E4393C9-1812-0151-4CD2-8EA9F92FB35E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2" creationId="{19815443-DC65-9E37-91BD-004743243A6D}"/>
          </ac:spMkLst>
        </pc:spChg>
        <pc:spChg chg="mod topLvl">
          <ac:chgData name="vonWaldow, Ulrich" userId="c64b3fe1-2fbf-4408-adc4-30add62e991f" providerId="ADAL" clId="{B99A90B8-7D29-4456-AFD4-0F3DBA13A596}" dt="2024-08-27T14:07:26.178" v="105371" actId="165"/>
          <ac:spMkLst>
            <pc:docMk/>
            <pc:sldMk cId="1102400463" sldId="844"/>
            <ac:spMk id="53" creationId="{3FC67531-185E-D92F-0ABB-FEC93A1D4A0F}"/>
          </ac:spMkLst>
        </pc:spChg>
        <pc:spChg chg="mod topLvl">
          <ac:chgData name="vonWaldow, Ulrich" userId="c64b3fe1-2fbf-4408-adc4-30add62e991f" providerId="ADAL" clId="{B99A90B8-7D29-4456-AFD4-0F3DBA13A596}" dt="2024-08-27T14:07:26.178" v="105371" actId="165"/>
          <ac:spMkLst>
            <pc:docMk/>
            <pc:sldMk cId="1102400463" sldId="844"/>
            <ac:spMk id="54" creationId="{A6513B67-F9BA-36EF-3F2D-17C1821AF3A5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5" creationId="{10F4E91F-5170-3953-02A5-63F8D0703253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6" creationId="{85838960-3D3C-FD58-48A7-C4F621BFCB01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7" creationId="{50739149-072C-3CF0-EDCE-8E1B5CDBC502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8" creationId="{8A893203-85FB-E6CB-9471-33B5348EB579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9" creationId="{B8B7F8A0-2F09-0D22-F136-15079D9F750B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60" creationId="{9A52E1A0-A4C6-B2ED-BE56-B5342BD5124B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72" creationId="{24C5FD87-9665-A9E7-D164-91E31D9A6EB2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73" creationId="{8B45FC3B-486D-EB41-9CE8-DF380CA05011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1" creationId="{49A9629F-FD8D-3EE0-F2F2-60B2BF0DC30F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2" creationId="{8AEFD5A4-9154-BB28-1C3D-6F58C88635F1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3" creationId="{33E7C9F9-8972-A2CA-C6BE-AD3BCD405A15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4" creationId="{BD614DA0-42C8-6963-9DCA-A3767B2AFCDD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5" creationId="{84A86897-B41B-8BB9-CEC9-3BCD0B14F303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6" creationId="{932E35C0-4C55-0AF9-87A8-116B357AFC88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7" creationId="{446D390D-8D6C-DA24-E1E0-F2492BC44347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8" creationId="{388CE11A-D95E-23E3-4332-34F0B9E91E17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9" creationId="{DD2999AF-0B51-0E80-C060-BCA82C55929E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90" creationId="{372D9BE9-00AB-4459-2559-036E7AC165CA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91" creationId="{F7D50B48-38CA-8D94-1CBA-36AC9E6CE420}"/>
          </ac:spMkLst>
        </pc:spChg>
        <pc:grpChg chg="del">
          <ac:chgData name="vonWaldow, Ulrich" userId="c64b3fe1-2fbf-4408-adc4-30add62e991f" providerId="ADAL" clId="{B99A90B8-7D29-4456-AFD4-0F3DBA13A596}" dt="2024-08-27T14:07:26.178" v="105371" actId="165"/>
          <ac:grpSpMkLst>
            <pc:docMk/>
            <pc:sldMk cId="1102400463" sldId="844"/>
            <ac:grpSpMk id="50" creationId="{2994B299-C361-1958-EB7F-87FB7BF040F6}"/>
          </ac:grpSpMkLst>
        </pc:grpChg>
        <pc:grpChg chg="mod topLvl">
          <ac:chgData name="vonWaldow, Ulrich" userId="c64b3fe1-2fbf-4408-adc4-30add62e991f" providerId="ADAL" clId="{B99A90B8-7D29-4456-AFD4-0F3DBA13A596}" dt="2024-08-27T14:07:32.901" v="105392" actId="1035"/>
          <ac:grpSpMkLst>
            <pc:docMk/>
            <pc:sldMk cId="1102400463" sldId="844"/>
            <ac:grpSpMk id="51" creationId="{99DB5FBC-178D-9CCF-78C2-3D7E181DAA3D}"/>
          </ac:grpSpMkLst>
        </pc:grpChg>
        <pc:graphicFrameChg chg="mod">
          <ac:chgData name="vonWaldow, Ulrich" userId="c64b3fe1-2fbf-4408-adc4-30add62e991f" providerId="ADAL" clId="{B99A90B8-7D29-4456-AFD4-0F3DBA13A596}" dt="2024-08-27T14:07:07.954" v="105321"/>
          <ac:graphicFrameMkLst>
            <pc:docMk/>
            <pc:sldMk cId="1102400463" sldId="844"/>
            <ac:graphicFrameMk id="5" creationId="{BE122FFE-D184-B1BE-6AB8-3F21318DA215}"/>
          </ac:graphicFrameMkLst>
        </pc:graphicFrameChg>
        <pc:picChg chg="mod topLvl">
          <ac:chgData name="vonWaldow, Ulrich" userId="c64b3fe1-2fbf-4408-adc4-30add62e991f" providerId="ADAL" clId="{B99A90B8-7D29-4456-AFD4-0F3DBA13A596}" dt="2024-08-27T14:07:32.901" v="105392" actId="1035"/>
          <ac:picMkLst>
            <pc:docMk/>
            <pc:sldMk cId="1102400463" sldId="844"/>
            <ac:picMk id="71" creationId="{247A62B3-B819-4A99-AD02-8748838F1A32}"/>
          </ac:picMkLst>
        </pc:pic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1" creationId="{212D4CD2-4E77-6F75-C687-C28598B3D47F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2" creationId="{81D949E3-D3F1-81C1-CA5F-342A996CED7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3" creationId="{52899F92-4471-DC7F-DF82-EE2AF9038200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4" creationId="{1A1CB6F5-6600-F39C-906F-8040F63EECCD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5" creationId="{E1334097-AB58-9324-C632-98368A93B92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6" creationId="{520B9739-485D-96E7-9901-508E4B09272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7" creationId="{D30294CB-09DE-6FAF-272B-C0D3C2BBD81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8" creationId="{28376D1A-6FB6-0C7E-85B1-318EB21F6026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9" creationId="{00DDC171-C47E-5084-C858-7641BB8D7EE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0" creationId="{B0B12942-6C35-6F98-F0AA-BADA46C752C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4" creationId="{3228F18C-1F66-AF8F-70A1-90163D145D29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5" creationId="{85AFD5B6-3829-2F5D-EE75-F13B3A8FFFD1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6" creationId="{AF4EF35D-01F0-A1B0-19B7-293B2D7E6943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7" creationId="{AF4651FE-7EEA-C658-C3A9-295DD32A7144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8" creationId="{A4DCC5A4-C9E3-5DB5-4462-60B0FFF31173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9" creationId="{BC42B78C-44E0-C35B-766B-5C3BDB167C90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80" creationId="{ACD5887A-F0EC-8B95-100F-D0D51D4DD787}"/>
          </ac:cxnSpMkLst>
        </pc:cxnChg>
      </pc:sldChg>
      <pc:sldChg chg="modSp mod">
        <pc:chgData name="vonWaldow, Ulrich" userId="c64b3fe1-2fbf-4408-adc4-30add62e991f" providerId="ADAL" clId="{B99A90B8-7D29-4456-AFD4-0F3DBA13A596}" dt="2024-09-03T12:29:11.007" v="112308"/>
        <pc:sldMkLst>
          <pc:docMk/>
          <pc:sldMk cId="333644351" sldId="847"/>
        </pc:sldMkLst>
        <pc:spChg chg="mod replST">
          <ac:chgData name="vonWaldow, Ulrich" userId="c64b3fe1-2fbf-4408-adc4-30add62e991f" providerId="ADAL" clId="{B99A90B8-7D29-4456-AFD4-0F3DBA13A596}" dt="2024-08-26T13:54:28.513" v="34302"/>
          <ac:spMkLst>
            <pc:docMk/>
            <pc:sldMk cId="333644351" sldId="847"/>
            <ac:spMk id="40" creationId="{C5B6BF32-AFC7-22ED-05BC-74C51E17C9CF}"/>
          </ac:spMkLst>
        </pc:spChg>
        <pc:spChg chg="mod replST">
          <ac:chgData name="vonWaldow, Ulrich" userId="c64b3fe1-2fbf-4408-adc4-30add62e991f" providerId="ADAL" clId="{B99A90B8-7D29-4456-AFD4-0F3DBA13A596}" dt="2024-08-26T13:54:28.513" v="34300"/>
          <ac:spMkLst>
            <pc:docMk/>
            <pc:sldMk cId="333644351" sldId="847"/>
            <ac:spMk id="47" creationId="{F48C63B8-0322-CC75-3878-4EB2CE781038}"/>
          </ac:spMkLst>
        </pc:spChg>
        <pc:spChg chg="mod">
          <ac:chgData name="vonWaldow, Ulrich" userId="c64b3fe1-2fbf-4408-adc4-30add62e991f" providerId="ADAL" clId="{B99A90B8-7D29-4456-AFD4-0F3DBA13A596}" dt="2024-08-27T13:18:02.951" v="105014" actId="948"/>
          <ac:spMkLst>
            <pc:docMk/>
            <pc:sldMk cId="333644351" sldId="847"/>
            <ac:spMk id="116" creationId="{1ADF5850-5769-1C8B-CC27-FC98531E240C}"/>
          </ac:spMkLst>
        </pc:spChg>
        <pc:spChg chg="mod replST">
          <ac:chgData name="vonWaldow, Ulrich" userId="c64b3fe1-2fbf-4408-adc4-30add62e991f" providerId="ADAL" clId="{B99A90B8-7D29-4456-AFD4-0F3DBA13A596}" dt="2024-09-03T10:03:59.849" v="110177"/>
          <ac:spMkLst>
            <pc:docMk/>
            <pc:sldMk cId="333644351" sldId="847"/>
            <ac:spMk id="119" creationId="{BD907EB3-DAE3-322E-6612-5656E2A1501A}"/>
          </ac:spMkLst>
        </pc:spChg>
        <pc:spChg chg="mod replST">
          <ac:chgData name="vonWaldow, Ulrich" userId="c64b3fe1-2fbf-4408-adc4-30add62e991f" providerId="ADAL" clId="{B99A90B8-7D29-4456-AFD4-0F3DBA13A596}" dt="2024-09-03T12:02:36.958" v="110318"/>
          <ac:spMkLst>
            <pc:docMk/>
            <pc:sldMk cId="333644351" sldId="847"/>
            <ac:spMk id="123" creationId="{67BAF23F-E554-E25D-A996-1A1558EF5E8D}"/>
          </ac:spMkLst>
        </pc:spChg>
        <pc:spChg chg="mod replST">
          <ac:chgData name="vonWaldow, Ulrich" userId="c64b3fe1-2fbf-4408-adc4-30add62e991f" providerId="ADAL" clId="{B99A90B8-7D29-4456-AFD4-0F3DBA13A596}" dt="2024-09-03T12:02:36.957" v="110316"/>
          <ac:spMkLst>
            <pc:docMk/>
            <pc:sldMk cId="333644351" sldId="847"/>
            <ac:spMk id="126" creationId="{E4DC88CE-2C1C-E99D-A5EA-BC5B0D2ECDA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33644351" sldId="847"/>
            <ac:spMk id="128" creationId="{0F4608B7-0641-2CA8-D234-51BB523225A7}"/>
          </ac:spMkLst>
        </pc:spChg>
        <pc:spChg chg="mod replST">
          <ac:chgData name="vonWaldow, Ulrich" userId="c64b3fe1-2fbf-4408-adc4-30add62e991f" providerId="ADAL" clId="{B99A90B8-7D29-4456-AFD4-0F3DBA13A596}" dt="2024-09-03T12:02:36.956" v="110314"/>
          <ac:spMkLst>
            <pc:docMk/>
            <pc:sldMk cId="333644351" sldId="847"/>
            <ac:spMk id="129" creationId="{F2D50B3B-D8EC-FDE1-69A4-CA5327A726C5}"/>
          </ac:spMkLst>
        </pc:spChg>
        <pc:spChg chg="mod replST">
          <ac:chgData name="vonWaldow, Ulrich" userId="c64b3fe1-2fbf-4408-adc4-30add62e991f" providerId="ADAL" clId="{B99A90B8-7D29-4456-AFD4-0F3DBA13A596}" dt="2024-09-03T12:02:36.954" v="110312"/>
          <ac:spMkLst>
            <pc:docMk/>
            <pc:sldMk cId="333644351" sldId="847"/>
            <ac:spMk id="132" creationId="{67E986B9-FCF8-AA0E-37EA-3DE83BDBC0E0}"/>
          </ac:spMkLst>
        </pc:spChg>
        <pc:spChg chg="mod replST">
          <ac:chgData name="vonWaldow, Ulrich" userId="c64b3fe1-2fbf-4408-adc4-30add62e991f" providerId="ADAL" clId="{B99A90B8-7D29-4456-AFD4-0F3DBA13A596}" dt="2024-09-03T12:29:11.007" v="112308"/>
          <ac:spMkLst>
            <pc:docMk/>
            <pc:sldMk cId="333644351" sldId="847"/>
            <ac:spMk id="135" creationId="{95B4EE4B-693B-C17C-A7C9-5463E2C191E7}"/>
          </ac:spMkLst>
        </pc:spChg>
        <pc:graphicFrameChg chg="mod">
          <ac:chgData name="vonWaldow, Ulrich" userId="c64b3fe1-2fbf-4408-adc4-30add62e991f" providerId="ADAL" clId="{B99A90B8-7D29-4456-AFD4-0F3DBA13A596}" dt="2024-08-27T13:18:02.951" v="105018"/>
          <ac:graphicFrameMkLst>
            <pc:docMk/>
            <pc:sldMk cId="333644351" sldId="847"/>
            <ac:graphicFrameMk id="46" creationId="{1088D9C0-C94E-19F2-9426-B95F42B26F05}"/>
          </ac:graphicFrameMkLst>
        </pc:graphicFrameChg>
      </pc:sldChg>
      <pc:sldChg chg="delSp modSp">
        <pc:chgData name="vonWaldow, Ulrich" userId="c64b3fe1-2fbf-4408-adc4-30add62e991f" providerId="ADAL" clId="{B99A90B8-7D29-4456-AFD4-0F3DBA13A596}" dt="2024-08-28T07:44:04.887" v="105518"/>
        <pc:sldMkLst>
          <pc:docMk/>
          <pc:sldMk cId="682944" sldId="84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82944" sldId="848"/>
            <ac:spMk id="3" creationId="{898F219A-6AAF-F218-9CE4-B4D7E67ACDA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8" creationId="{20A523A6-87E1-76BE-615D-9BDE3638FCD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9" creationId="{519DBC51-E56D-0522-C94E-6F7A92872CCE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0" creationId="{A3308478-5A89-739F-4A53-382C2B3DC693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1" creationId="{FD512102-9F49-1006-F76A-2D68A9B5E5C7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2" creationId="{CAB8C2B0-18BB-F4FD-FBA1-20453390457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3" creationId="{D00610F7-9B55-8F41-850E-9EE0321E763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4" creationId="{29F65E9F-5280-88F7-E760-DAB6ABF2C156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5" creationId="{28770B36-586D-E1F1-1CE9-DE9D06412DE2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6" creationId="{88FC7670-0BDF-C774-BCF9-F7DED746A34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3" creationId="{F1CC715C-59C6-18D2-FFB8-9746108A4868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4" creationId="{00856D80-56D8-4342-00E0-D32EE9A5F51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5" creationId="{982A18EA-7EDD-0796-98D8-B06AC27F464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6" creationId="{697D3B15-0813-C88A-CFEC-484B105345C4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7" creationId="{0790A691-B6D1-E4EF-E1B3-2DD9E5F2F12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8" creationId="{1017C600-87AE-2C4B-D997-63FD33D37F2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9" creationId="{7F75A53A-BE69-8194-BEC9-9BB694DCF907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0" creationId="{68FD3208-5BC0-2EDA-CC0C-920FFC90FE9F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1" creationId="{1C5D5025-58C0-2BF9-0342-61957E18E83B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2" creationId="{8B35C9F2-D503-9C20-3BC9-9E671FC9E84F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3" creationId="{FDF02CA2-8667-0BE5-1C64-CCFC1C601047}"/>
          </ac:spMkLst>
        </pc:spChg>
        <pc:grpChg chg="del">
          <ac:chgData name="vonWaldow, Ulrich" userId="c64b3fe1-2fbf-4408-adc4-30add62e991f" providerId="ADAL" clId="{B99A90B8-7D29-4456-AFD4-0F3DBA13A596}" dt="2024-08-27T14:08:14.473" v="105409" actId="165"/>
          <ac:grpSpMkLst>
            <pc:docMk/>
            <pc:sldMk cId="682944" sldId="848"/>
            <ac:grpSpMk id="7" creationId="{7F1AEBD9-CEBF-5FE7-5570-CB9FDD07500B}"/>
          </ac:grpSpMkLst>
        </pc:grp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7" creationId="{281A84AC-54F9-43A0-8E52-2010FFF02DE3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8" creationId="{F0C29D73-8E9C-FA60-9805-9E8C2CB56C73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9" creationId="{411990ED-3FE1-310D-FD85-09B268E5424E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0" creationId="{E5A4B6D9-3A44-62CA-1886-CC112F979254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1" creationId="{D44B89DB-14CF-91AF-2790-565C686F8EAB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2" creationId="{6B545497-4268-4726-FD8B-DDE4D61A73C4}"/>
          </ac:cxnSpMkLst>
        </pc:cxnChg>
      </pc:sldChg>
      <pc:sldChg chg="modSp mod ord modShow">
        <pc:chgData name="vonWaldow, Ulrich" userId="c64b3fe1-2fbf-4408-adc4-30add62e991f" providerId="ADAL" clId="{B99A90B8-7D29-4456-AFD4-0F3DBA13A596}" dt="2024-08-28T07:44:04.887" v="105518"/>
        <pc:sldMkLst>
          <pc:docMk/>
          <pc:sldMk cId="2923992028" sldId="84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23992028" sldId="849"/>
            <ac:spMk id="3" creationId="{754705CD-8942-9A5A-59A0-6086F00FC74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05829275" sldId="85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05829275" sldId="850"/>
            <ac:spMk id="3" creationId="{CF629371-911A-0A23-2A58-6B8493E97EE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45982330" sldId="85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3" creationId="{12F29E76-7BF1-7582-AE77-B1695F6344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9" creationId="{C6C98FA1-245B-B5E6-3F9F-51700FA7C94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11" creationId="{06DA3750-8EBC-EAAC-0692-3019D544FC9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911227772" sldId="85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911227772" sldId="852"/>
            <ac:spMk id="3" creationId="{11F7AB6A-7F6B-E96C-4BDB-6FBA28A53E8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52300149" sldId="85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52300149" sldId="853"/>
            <ac:spMk id="3" creationId="{4DCB9587-D2F5-7B03-CF46-CCA3F85F0CC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427442613" sldId="85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427442613" sldId="854"/>
            <ac:spMk id="3" creationId="{6993FAD1-3420-F2EC-5551-94F2F134EB1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48604121" sldId="85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48604121" sldId="855"/>
            <ac:spMk id="3" creationId="{995474B9-66B7-F124-27FB-ECA42C11FC61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8-28T07:44:04.887" v="105518"/>
        <pc:sldMkLst>
          <pc:docMk/>
          <pc:sldMk cId="3892068153" sldId="857"/>
        </pc:sldMkLst>
        <pc:spChg chg="mod ord">
          <ac:chgData name="vonWaldow, Ulrich" userId="c64b3fe1-2fbf-4408-adc4-30add62e991f" providerId="ADAL" clId="{B99A90B8-7D29-4456-AFD4-0F3DBA13A596}" dt="2024-08-27T14:09:10.954" v="105432" actId="948"/>
          <ac:spMkLst>
            <pc:docMk/>
            <pc:sldMk cId="3892068153" sldId="857"/>
            <ac:spMk id="2" creationId="{7C8FE923-B898-0958-867A-01A70834133C}"/>
          </ac:spMkLst>
        </pc:spChg>
        <pc:spChg chg="mod ord">
          <ac:chgData name="vonWaldow, Ulrich" userId="c64b3fe1-2fbf-4408-adc4-30add62e991f" providerId="ADAL" clId="{B99A90B8-7D29-4456-AFD4-0F3DBA13A596}" dt="2024-08-28T07:44:04.887" v="105518"/>
          <ac:spMkLst>
            <pc:docMk/>
            <pc:sldMk cId="3892068153" sldId="857"/>
            <ac:spMk id="3" creationId="{29A063B6-C42B-FBE1-7855-E658272E0D4E}"/>
          </ac:spMkLst>
        </pc:spChg>
        <pc:spChg chg="add del mod modVis">
          <ac:chgData name="vonWaldow, Ulrich" userId="c64b3fe1-2fbf-4408-adc4-30add62e991f" providerId="ADAL" clId="{B99A90B8-7D29-4456-AFD4-0F3DBA13A596}" dt="2024-08-27T14:09:11.048" v="105453"/>
          <ac:spMkLst>
            <pc:docMk/>
            <pc:sldMk cId="3892068153" sldId="857"/>
            <ac:spMk id="4" creationId="{FAF158FD-1267-69BD-7F0C-CD7280C842CF}"/>
          </ac:spMkLst>
        </pc:spChg>
        <pc:spChg chg="mod">
          <ac:chgData name="vonWaldow, Ulrich" userId="c64b3fe1-2fbf-4408-adc4-30add62e991f" providerId="ADAL" clId="{B99A90B8-7D29-4456-AFD4-0F3DBA13A596}" dt="2024-08-27T14:09:45.822" v="105491" actId="1037"/>
          <ac:spMkLst>
            <pc:docMk/>
            <pc:sldMk cId="3892068153" sldId="857"/>
            <ac:spMk id="36" creationId="{8686177B-463A-2E8B-6A48-C256F7E34291}"/>
          </ac:spMkLst>
        </pc:spChg>
        <pc:spChg chg="mod">
          <ac:chgData name="vonWaldow, Ulrich" userId="c64b3fe1-2fbf-4408-adc4-30add62e991f" providerId="ADAL" clId="{B99A90B8-7D29-4456-AFD4-0F3DBA13A596}" dt="2024-08-27T14:09:52.482" v="105493" actId="408"/>
          <ac:spMkLst>
            <pc:docMk/>
            <pc:sldMk cId="3892068153" sldId="857"/>
            <ac:spMk id="37" creationId="{968752E1-BB45-F7A1-EBFE-C17DD90BB8CC}"/>
          </ac:spMkLst>
        </pc:spChg>
        <pc:spChg chg="mod">
          <ac:chgData name="vonWaldow, Ulrich" userId="c64b3fe1-2fbf-4408-adc4-30add62e991f" providerId="ADAL" clId="{B99A90B8-7D29-4456-AFD4-0F3DBA13A596}" dt="2024-08-27T14:09:50.640" v="105492" actId="1076"/>
          <ac:spMkLst>
            <pc:docMk/>
            <pc:sldMk cId="3892068153" sldId="857"/>
            <ac:spMk id="38" creationId="{778A97EC-A8CC-C58E-F731-4EBFAA62B5CE}"/>
          </ac:spMkLst>
        </pc:spChg>
        <pc:spChg chg="mod">
          <ac:chgData name="vonWaldow, Ulrich" userId="c64b3fe1-2fbf-4408-adc4-30add62e991f" providerId="ADAL" clId="{B99A90B8-7D29-4456-AFD4-0F3DBA13A596}" dt="2024-08-27T14:09:45.822" v="105491" actId="1037"/>
          <ac:spMkLst>
            <pc:docMk/>
            <pc:sldMk cId="3892068153" sldId="857"/>
            <ac:spMk id="39" creationId="{70152E3B-665D-125D-D8F7-02321B33A7DE}"/>
          </ac:spMkLst>
        </pc:spChg>
        <pc:spChg chg="mod">
          <ac:chgData name="vonWaldow, Ulrich" userId="c64b3fe1-2fbf-4408-adc4-30add62e991f" providerId="ADAL" clId="{B99A90B8-7D29-4456-AFD4-0F3DBA13A596}" dt="2024-08-27T14:09:52.482" v="105493" actId="408"/>
          <ac:spMkLst>
            <pc:docMk/>
            <pc:sldMk cId="3892068153" sldId="857"/>
            <ac:spMk id="40" creationId="{8EF07DB8-0246-44D2-47FF-8E0C78D04E14}"/>
          </ac:spMkLst>
        </pc:spChg>
        <pc:spChg chg="mod">
          <ac:chgData name="vonWaldow, Ulrich" userId="c64b3fe1-2fbf-4408-adc4-30add62e991f" providerId="ADAL" clId="{B99A90B8-7D29-4456-AFD4-0F3DBA13A596}" dt="2024-08-27T14:09:50.640" v="105492" actId="1076"/>
          <ac:spMkLst>
            <pc:docMk/>
            <pc:sldMk cId="3892068153" sldId="857"/>
            <ac:spMk id="41" creationId="{5CA57E02-DFBF-D25E-C726-7B51C57CA4B5}"/>
          </ac:spMkLst>
        </pc:spChg>
        <pc:spChg chg="mod">
          <ac:chgData name="vonWaldow, Ulrich" userId="c64b3fe1-2fbf-4408-adc4-30add62e991f" providerId="ADAL" clId="{B99A90B8-7D29-4456-AFD4-0F3DBA13A596}" dt="2024-08-27T14:09:22.504" v="105458" actId="14100"/>
          <ac:spMkLst>
            <pc:docMk/>
            <pc:sldMk cId="3892068153" sldId="857"/>
            <ac:spMk id="42" creationId="{44391029-A187-8D42-8BAE-774C30E7D36F}"/>
          </ac:spMkLst>
        </pc:spChg>
        <pc:spChg chg="mod">
          <ac:chgData name="vonWaldow, Ulrich" userId="c64b3fe1-2fbf-4408-adc4-30add62e991f" providerId="ADAL" clId="{B99A90B8-7D29-4456-AFD4-0F3DBA13A596}" dt="2024-08-27T14:10:19.639" v="105495" actId="207"/>
          <ac:spMkLst>
            <pc:docMk/>
            <pc:sldMk cId="3892068153" sldId="857"/>
            <ac:spMk id="45" creationId="{36C08558-65B4-3015-68E5-BEE5C6D0EB52}"/>
          </ac:spMkLst>
        </pc:s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5" creationId="{E33D1DCF-4FB5-6A2A-921A-4D3D7A2A1D72}"/>
          </ac:grpSpMkLst>
        </pc:gr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6" creationId="{C3FE408D-D964-3A9D-45E6-BD0D831CB360}"/>
          </ac:grpSpMkLst>
        </pc:gr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7" creationId="{8B0A3B9E-5E27-D957-280B-42A62E2A5F0B}"/>
          </ac:grpSpMkLst>
        </pc:grpChg>
        <pc:graphicFrameChg chg="mod">
          <ac:chgData name="vonWaldow, Ulrich" userId="c64b3fe1-2fbf-4408-adc4-30add62e991f" providerId="ADAL" clId="{B99A90B8-7D29-4456-AFD4-0F3DBA13A596}" dt="2024-08-27T14:09:11.048" v="105455"/>
          <ac:graphicFrameMkLst>
            <pc:docMk/>
            <pc:sldMk cId="3892068153" sldId="857"/>
            <ac:graphicFrameMk id="9" creationId="{EBF08E73-53EE-15FE-B03C-0E5F26667871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07:21.920" v="111330"/>
        <pc:sldMkLst>
          <pc:docMk/>
          <pc:sldMk cId="4060505733" sldId="85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060505733" sldId="859"/>
            <ac:spMk id="3" creationId="{DE771D55-F5FF-8053-C4B6-419E7E958B1A}"/>
          </ac:spMkLst>
        </pc:spChg>
        <pc:spChg chg="add del mod">
          <ac:chgData name="vonWaldow, Ulrich" userId="c64b3fe1-2fbf-4408-adc4-30add62e991f" providerId="ADAL" clId="{B99A90B8-7D29-4456-AFD4-0F3DBA13A596}" dt="2024-08-27T14:12:13.613" v="105497" actId="21"/>
          <ac:spMkLst>
            <pc:docMk/>
            <pc:sldMk cId="4060505733" sldId="859"/>
            <ac:spMk id="4" creationId="{24AB424D-43B7-E694-9C9E-568550DC9BD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12328117" sldId="86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12328117" sldId="860"/>
            <ac:spMk id="3" creationId="{2A11BEDC-D4A7-99D4-E35E-D0684B649231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86517240" sldId="87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86517240" sldId="871"/>
            <ac:spMk id="3" creationId="{47D46A92-9A6F-627B-F95A-9070C74B417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75009705" sldId="87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0" creationId="{2107B298-CC22-403B-34A3-4966DA6DA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1" creationId="{4842E6E2-BEF5-6032-6DE9-0F6B9E44B9C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2" creationId="{CA182E61-20A0-77DA-2EAE-8EDC29CECED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3" creationId="{F98D7989-D3EF-3843-97A3-1175029C50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4" creationId="{A5F05C80-BE63-118A-8C67-EEBA283EEAE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5" creationId="{EA874159-03B4-8F25-4BD9-B82F16D8B33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6" creationId="{B8A84EE9-EC23-841E-6A14-5BEBF858D1C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7" creationId="{41611A3B-32FF-5862-A5F1-B57497B9DA3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8" creationId="{A46352B9-FD7C-BE23-5BED-09790847267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9" creationId="{98875A5F-E6DD-B432-EE6D-F9A287724DB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0" creationId="{0F532BA5-9851-39FC-E125-390092D2A90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1" creationId="{4C658967-8297-C0FD-23E8-BB54C29F522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2" creationId="{02167B5D-3111-EC0D-36D3-0023C7390738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575009705" sldId="872"/>
            <ac:grpSpMk id="4" creationId="{D863D03B-47FA-32F1-4885-2424EA3414C7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14447825" sldId="87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4447825" sldId="874"/>
            <ac:spMk id="3" creationId="{DA214871-1542-8943-6447-56867FD89BD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744657104" sldId="87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744657104" sldId="879"/>
            <ac:spMk id="3" creationId="{F51C3C03-FA76-B903-3C4A-B7BB092448D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008941546" sldId="88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008941546" sldId="881"/>
            <ac:spMk id="3" creationId="{6E1CEA48-219D-1264-FAA7-96A380DDFC3A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59928595" sldId="88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59928595" sldId="882"/>
            <ac:spMk id="3" creationId="{EECC0C74-9D04-3904-B7FB-5A8DE732AD67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56190527" sldId="88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6190527" sldId="883"/>
            <ac:spMk id="3" creationId="{7DA365DA-4C67-618E-E975-91FB21D02C7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22017130" sldId="88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22017130" sldId="884"/>
            <ac:spMk id="3" creationId="{27C720AB-7613-08A1-EC75-D1E8C90F558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331648055" sldId="88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31648055" sldId="885"/>
            <ac:spMk id="3" creationId="{5C000A9A-0034-8C6A-4997-5BD25430AD86}"/>
          </ac:spMkLst>
        </pc:spChg>
      </pc:sldChg>
      <pc:sldChg chg="modSp mod">
        <pc:chgData name="vonWaldow, Ulrich" userId="c64b3fe1-2fbf-4408-adc4-30add62e991f" providerId="ADAL" clId="{B99A90B8-7D29-4456-AFD4-0F3DBA13A596}" dt="2024-09-03T12:14:11.729" v="111794" actId="6549"/>
        <pc:sldMkLst>
          <pc:docMk/>
          <pc:sldMk cId="4012524942" sldId="886"/>
        </pc:sldMkLst>
        <pc:spChg chg="mod">
          <ac:chgData name="vonWaldow, Ulrich" userId="c64b3fe1-2fbf-4408-adc4-30add62e991f" providerId="ADAL" clId="{B99A90B8-7D29-4456-AFD4-0F3DBA13A596}" dt="2024-09-03T12:14:11.729" v="111794" actId="6549"/>
          <ac:spMkLst>
            <pc:docMk/>
            <pc:sldMk cId="4012524942" sldId="886"/>
            <ac:spMk id="3" creationId="{8BACA91A-1FC2-0695-2B26-DD4F5B07472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163974709" sldId="88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163974709" sldId="888"/>
            <ac:spMk id="3" creationId="{A40AEA60-AB9A-2F30-BBBC-74CDAAAB438B}"/>
          </ac:spMkLst>
        </pc:spChg>
      </pc:sldChg>
      <pc:sldChg chg="del">
        <pc:chgData name="vonWaldow, Ulrich" userId="c64b3fe1-2fbf-4408-adc4-30add62e991f" providerId="ADAL" clId="{B99A90B8-7D29-4456-AFD4-0F3DBA13A596}" dt="2024-08-26T09:07:09.860" v="842" actId="47"/>
        <pc:sldMkLst>
          <pc:docMk/>
          <pc:sldMk cId="2419551798" sldId="892"/>
        </pc:sldMkLst>
      </pc:sldChg>
      <pc:sldChg chg="del">
        <pc:chgData name="vonWaldow, Ulrich" userId="c64b3fe1-2fbf-4408-adc4-30add62e991f" providerId="ADAL" clId="{B99A90B8-7D29-4456-AFD4-0F3DBA13A596}" dt="2024-08-26T09:07:08.476" v="841" actId="47"/>
        <pc:sldMkLst>
          <pc:docMk/>
          <pc:sldMk cId="2539608923" sldId="893"/>
        </pc:sldMkLst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837727572" sldId="89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37727572" sldId="894"/>
            <ac:spMk id="3" creationId="{B05CC358-9ADB-3241-806A-A40ECE882B75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177387462" sldId="89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77387462" sldId="895"/>
            <ac:spMk id="3" creationId="{F74273A9-6C0C-A7C2-7D20-908D0E07D22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59989928" sldId="89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9989928" sldId="896"/>
            <ac:spMk id="3" creationId="{4EFC731C-B319-5970-8074-C07AA8368A0F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3:35.052" v="111785"/>
        <pc:sldMkLst>
          <pc:docMk/>
          <pc:sldMk cId="3692523909" sldId="900"/>
        </pc:sldMkLst>
        <pc:spChg chg="mod">
          <ac:chgData name="vonWaldow, Ulrich" userId="c64b3fe1-2fbf-4408-adc4-30add62e991f" providerId="ADAL" clId="{B99A90B8-7D29-4456-AFD4-0F3DBA13A596}" dt="2024-09-03T12:13:35.029" v="111762" actId="948"/>
          <ac:spMkLst>
            <pc:docMk/>
            <pc:sldMk cId="3692523909" sldId="900"/>
            <ac:spMk id="2" creationId="{130F8D0A-9B47-9CE5-1AC6-E68268241549}"/>
          </ac:spMkLst>
        </pc:spChg>
        <pc:spChg chg="mod">
          <ac:chgData name="vonWaldow, Ulrich" userId="c64b3fe1-2fbf-4408-adc4-30add62e991f" providerId="ADAL" clId="{B99A90B8-7D29-4456-AFD4-0F3DBA13A596}" dt="2024-09-03T12:13:33.354" v="111760" actId="21"/>
          <ac:spMkLst>
            <pc:docMk/>
            <pc:sldMk cId="3692523909" sldId="900"/>
            <ac:spMk id="3" creationId="{4B2B6CE6-EB08-82D4-0316-187BE7A489A3}"/>
          </ac:spMkLst>
        </pc:spChg>
        <pc:spChg chg="add del mod modVis">
          <ac:chgData name="vonWaldow, Ulrich" userId="c64b3fe1-2fbf-4408-adc4-30add62e991f" providerId="ADAL" clId="{B99A90B8-7D29-4456-AFD4-0F3DBA13A596}" dt="2024-09-03T12:13:35.050" v="111783"/>
          <ac:spMkLst>
            <pc:docMk/>
            <pc:sldMk cId="3692523909" sldId="900"/>
            <ac:spMk id="7" creationId="{E1C41ADA-EB66-8BDB-270F-A841F63C1F6E}"/>
          </ac:spMkLst>
        </pc:spChg>
        <pc:graphicFrameChg chg="mod">
          <ac:chgData name="vonWaldow, Ulrich" userId="c64b3fe1-2fbf-4408-adc4-30add62e991f" providerId="ADAL" clId="{B99A90B8-7D29-4456-AFD4-0F3DBA13A596}" dt="2024-09-03T12:13:35.052" v="111785"/>
          <ac:graphicFrameMkLst>
            <pc:docMk/>
            <pc:sldMk cId="3692523909" sldId="900"/>
            <ac:graphicFrameMk id="5" creationId="{AEE580E4-F826-0158-20DF-BA8ED5D1805E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448023647" sldId="90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48023647" sldId="904"/>
            <ac:spMk id="3" creationId="{46FA9B3E-FEF1-ED3A-13D0-8F6D56F5422F}"/>
          </ac:spMkLst>
        </pc:spChg>
        <pc:spChg chg="mod">
          <ac:chgData name="vonWaldow, Ulrich" userId="c64b3fe1-2fbf-4408-adc4-30add62e991f" providerId="ADAL" clId="{B99A90B8-7D29-4456-AFD4-0F3DBA13A596}" dt="2024-08-26T13:38:10.390" v="34294" actId="207"/>
          <ac:spMkLst>
            <pc:docMk/>
            <pc:sldMk cId="3448023647" sldId="904"/>
            <ac:spMk id="39" creationId="{BD1CD0D2-C1CC-7124-00A2-760E23D725BC}"/>
          </ac:spMkLst>
        </pc:spChg>
        <pc:spChg chg="mod">
          <ac:chgData name="vonWaldow, Ulrich" userId="c64b3fe1-2fbf-4408-adc4-30add62e991f" providerId="ADAL" clId="{B99A90B8-7D29-4456-AFD4-0F3DBA13A596}" dt="2024-08-26T13:38:06.208" v="34293" actId="208"/>
          <ac:spMkLst>
            <pc:docMk/>
            <pc:sldMk cId="3448023647" sldId="904"/>
            <ac:spMk id="41" creationId="{D127B3E2-5247-ABB1-D461-9B398C9603D3}"/>
          </ac:spMkLst>
        </pc:spChg>
      </pc:sldChg>
      <pc:sldChg chg="addSp modSp mod">
        <pc:chgData name="vonWaldow, Ulrich" userId="c64b3fe1-2fbf-4408-adc4-30add62e991f" providerId="ADAL" clId="{B99A90B8-7D29-4456-AFD4-0F3DBA13A596}" dt="2024-09-03T12:06:53.998" v="111246" actId="1076"/>
        <pc:sldMkLst>
          <pc:docMk/>
          <pc:sldMk cId="1238668126" sldId="91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238668126" sldId="910"/>
            <ac:spMk id="3" creationId="{02D3AC83-0374-0119-8B7A-85863A079F3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" creationId="{4F70A2F3-B9F7-296B-3A8E-F8EFF378BEC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" creationId="{18262969-83D4-3B15-D2F0-199E2E4162D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" creationId="{E312BA72-FAF3-116C-094A-D68D40315E4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" creationId="{B133D5ED-EA21-0F1A-E26B-DF2D0EF11C6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" creationId="{D164D2EF-1880-6950-5141-8190DE87CD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" creationId="{1FDB3682-3788-3277-4BC0-EB1EA92D027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" creationId="{7907FEBC-31AC-BC9D-D241-469D8D2DE88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" creationId="{4C391176-F00A-0690-EDB3-0A93808155B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" creationId="{E08E88EA-B145-C5A1-0E03-C1146ED8539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" creationId="{7C94CE3D-4E4F-3181-1FF0-7F93CA994CC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" creationId="{055E99D9-47BF-BF93-A5FC-0F99DC33EBE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" creationId="{D264BEC9-2E7C-C704-71DD-5ACB092DE54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0" creationId="{0EAC31D1-FE44-A927-B3DC-421638CA815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1" creationId="{028CF7FB-6A68-7D2D-3B39-3874E6897DD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" creationId="{5F817CBC-37A3-7A1D-2564-07858408332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3" creationId="{B9EB7522-9E4C-4EB5-5351-A721294849E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4" creationId="{0B3510F2-57A8-64D4-F259-312A8EBB876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5" creationId="{22543BDF-E182-083C-3559-4D850CD0577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6" creationId="{1CF7B666-DC4B-7E7B-F6A0-928A816ACAA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7" creationId="{7EAF5EAF-DD20-264E-123D-06212EF4D14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8" creationId="{E845DF75-AB77-478C-5E89-E3BC757CEF5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9" creationId="{39D88441-815B-A4B3-25EA-4AC79486B75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0" creationId="{DCD3D2DD-8C40-F77A-F03D-16781CBA790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1" creationId="{4D00F5D3-F82E-2F8B-78F9-C04755201A2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2" creationId="{3A24A5CF-F4A8-41E0-E0E3-8E06941B655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3" creationId="{569F9DAE-A989-83A3-EE1C-D1346870D7C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4" creationId="{2E9E5C43-A68E-F846-4E17-BED9FC51869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5" creationId="{AC9A4C26-9C19-5E3A-2BA6-EBBB41DABF4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6" creationId="{EE95AE6D-F496-70AA-C85F-CFD73B6E869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7" creationId="{9B0265A6-8692-56C4-1D49-524BBE252C6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8" creationId="{AC2DA438-A9FF-CD19-12C9-B5675CABC1A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9" creationId="{3E266096-B1D1-3334-DD1F-072F8FD2571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0" creationId="{98F40B3E-B312-98D3-E06F-C96D20225AA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1" creationId="{1D5D9E57-3B26-8959-D9E5-0FEA2EA5D4E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2" creationId="{D4E787A6-6BF8-821E-3305-8896D770A48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3" creationId="{208A9408-91E1-2398-4E23-2E2D7B86463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4" creationId="{A1FC7C04-8D94-97B4-D42A-22ADA880F50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5" creationId="{01597D2B-0A35-D542-8826-0726CA26E0D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6" creationId="{322F7BD7-6B5D-7153-AB58-C1B200E9F79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7" creationId="{37C7DF28-C816-AB70-7D15-2B31B9B7E54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8" creationId="{818B09DF-BD03-D588-FF18-F5FDCED944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9" creationId="{F147232F-9A80-14E2-A43A-3B7965CD61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0" creationId="{CBE0871C-08F0-63C6-1A62-F4153095FAC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1" creationId="{18BC156E-0AEA-1A7A-D7EA-3DFE6FA1C5D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2" creationId="{A651A5DE-8592-408A-078C-9CC290AA3A8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3" creationId="{52BAB1AD-6579-209F-F92E-4960CADE2A7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4" creationId="{53FF8EC0-B319-C277-8C68-2528C9687AD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5" creationId="{6C46AC0F-CBCB-77CB-E459-C5702EDECC8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6" creationId="{2D96807D-7304-3C30-FD12-66052078ABB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7" creationId="{BC85FDAC-D625-0084-3027-822BD2B63F5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8" creationId="{C656FA88-14FC-8884-D3BD-A873CB28DC5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9" creationId="{F7A3B1AE-E13D-271B-8483-DA9001FE667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0" creationId="{CA45E4DD-4E3B-72A1-C666-E84F2F037FC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1" creationId="{45CA3DFC-5A0E-0E56-C1CD-27D7C8AC21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2" creationId="{9DB087D7-B128-5BEE-21AB-32F967F8668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3" creationId="{FDDE4377-A843-37F8-178F-8411B063E98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4" creationId="{EC250FA7-D0A0-7ED1-CFA7-1B2609D735A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5" creationId="{2E6BD204-D0A0-AFAB-B97C-36FB9813170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6" creationId="{DAAF8C18-A51D-8EE9-2617-EE809D40651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7" creationId="{1EEC83A4-1DD4-99C3-599A-CEE771748CE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8" creationId="{781D7111-A524-DB4F-C882-0C3D1393A5D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9" creationId="{5EBC0080-1515-AA87-FD5D-7346EC7EF7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0" creationId="{55EDD167-75F4-2BB2-16E6-AB254210120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1" creationId="{FB058800-2135-D195-64D4-5E4D3C9F62B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2" creationId="{3E50DBF9-852B-BA2F-BC11-8A6F676F5B9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3" creationId="{8F87E071-DC88-1C3F-7027-F4FCA2C9477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4" creationId="{3E09C0A6-978E-DC9A-7DFB-2FDF86DF41C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5" creationId="{305AD5DE-E491-4E5A-2148-08D1E3CA0C4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6" creationId="{FA3880C1-E357-2494-CF8C-CC56535639E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7" creationId="{F22E9843-323D-364C-EEC6-0268344F8CD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8" creationId="{F5421622-D8D4-D872-ADAE-A3A0CAEA4BD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9" creationId="{CC8BF592-1FE9-2497-7551-3D271D94FA3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0" creationId="{FAD41B85-0177-8610-4695-BE673DCBC30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1" creationId="{FBB08BE8-3C1F-848F-9EB2-068AA1F4464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2" creationId="{B804E202-2717-44EF-E37C-3B8A66BE04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3" creationId="{93C5F742-82E4-0B4A-B74F-983E397371F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4" creationId="{5FBA66C7-B6F6-91DB-99E8-208E6BCAE8D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5" creationId="{2F773964-F7D7-F05D-CF49-0F270F80353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6" creationId="{E42E5902-8A2A-9F1E-E87D-10C197A94C1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7" creationId="{A582F2B8-2D54-F291-DAC0-9FE03060591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3" creationId="{8F9BF58C-1B9E-3470-9B0B-DE25181E7F3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4" creationId="{84238CE1-C08D-B5A6-A0AD-04CF411B4F2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6" creationId="{2FD2787B-B6DF-2647-9052-887AD7474F3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7" creationId="{852E3289-7499-9A7B-8ED9-CAF9B3B2B94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8" creationId="{DEF7EE54-39D3-3029-F34D-9C03B4EBDCB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4" creationId="{588C90D3-3B78-02CD-CC7D-5A926765344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5" creationId="{1E2DDFB7-5003-53CE-B781-697871B4F45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8" creationId="{900EC08E-9D45-DD69-86DF-FE2E300BE3B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9" creationId="{B0C14B8B-E457-593B-4C2C-1D5A53204A6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0" creationId="{8A9E24DF-5914-45AD-C3CF-98B3BCBE4F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1" creationId="{50C36620-FC8E-4C6C-934D-B21C5B7958B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2" creationId="{461CB2A0-A883-79E9-B9A4-749AC3C3737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3" creationId="{3DC8990D-4E93-EC6B-8BFE-3A63FB65797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7" creationId="{CAFDF968-5804-89CC-A92D-B61F9FFDF3C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8" creationId="{165BF520-38EF-C2F9-50CE-6D87A496524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0" creationId="{8B8CADC5-3E77-91E9-F84B-8173F9C76E5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3" creationId="{5649C3E4-32C8-A5FD-A7DD-9F7C6987682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4" creationId="{377A61C8-F996-D49B-82CE-7D3B61ED29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5" creationId="{DC2EE6C6-15DF-3E4B-1DC7-EBFD81BF5C0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6" creationId="{710D6460-75BC-4A97-739C-6B91474FE49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9" creationId="{421E7166-BE6D-CD23-D601-F3AFA7076CB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0" creationId="{05D5421E-ABD7-A8F7-7F36-030A2D7143A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1" creationId="{60C0BB1E-ACBA-5084-12E0-92FBE45C8B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2" creationId="{C968B68E-24C3-E0CE-2CB7-328FD532CB5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3" creationId="{4EF16745-F3FA-FE89-546C-FDDF7968BE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4" creationId="{50518C33-EEAC-BC59-1ACB-0E848E56E6D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5" creationId="{1348F54B-3E92-745A-54A2-432337407AC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6" creationId="{727E33AA-3CA5-0C30-032B-659060E9ABE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7" creationId="{174E7D9B-6246-B5BC-EDEF-A59C3F3AA34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8" creationId="{9ADCDEA6-572D-B7C7-6BD1-DED458BA4E2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2" creationId="{745ACC8D-BE80-36E9-1C33-6582D55F492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3" creationId="{8ED19BA6-FF4F-C45A-DFB2-A873A76048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4" creationId="{81B12E20-3AB0-FCD5-49C7-1A42735826F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5" creationId="{A933DA65-4401-AF07-D022-6FB8C15D696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6" creationId="{945F75D3-2B4D-A56E-F217-1CF6C2B8F81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7" creationId="{D3F364BC-3ABC-20D4-11A6-7588246CD94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8" creationId="{FF977D01-6C29-A062-0D12-2B2219934CC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9" creationId="{D4711800-E9EB-B210-2780-A9CA72BB166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0" creationId="{9B9BB44A-8738-2130-8F6B-38E1EFC3EBF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1" creationId="{9B415C8C-578C-EE1F-9831-4F02FE47CB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2" creationId="{10215D1D-9D6E-8291-D881-1B10CFABECA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3" creationId="{66677490-7DE7-D770-C765-209B7163204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4" creationId="{5E2CDD9D-74A6-223C-1A20-534A72CBE5C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5" creationId="{8F9F0384-0CA9-F495-3C13-D5CDC0CBD16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6" creationId="{CCC2A36F-0DC9-456A-77EA-7ACA299C99E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7" creationId="{59086EFE-74F7-93D3-3CBF-566618D390B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8" creationId="{31D0FAC9-1A1F-750D-F758-9E23AE722E7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9" creationId="{20154698-954E-6ED1-13CF-8BC18875FB0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0" creationId="{BDB1C98E-3B7E-1058-D10C-8E484D9C46C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1" creationId="{54E5758E-BA39-7504-F9F9-5CB5E97C5FF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2" creationId="{D2DAC6F0-8C63-5A98-607B-F84BB316E7F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3" creationId="{4142B897-65AE-E270-BB2D-3BCC0CCDE30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4" creationId="{44A9075C-40C2-34E8-E3B6-C3427E2D123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5" creationId="{F40FCF1D-DE13-70A6-BC46-1B1D5E72EB3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6" creationId="{3FEA9BDF-D451-F549-9E73-3FDF03D444F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2" creationId="{75DD4B5E-7252-636F-AA68-2FAD024C31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3" creationId="{F3B5ABAE-F79A-4BF8-97C9-A283C3E66DE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4" creationId="{31ED41AE-C529-3783-0301-49D238C923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5" creationId="{49407060-AC81-D767-C43C-83F101F29E9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6" creationId="{FF2C16BF-9025-813B-0058-979733744B5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7" creationId="{E21FB7B9-9BC9-D596-281B-07F4B0E585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8" creationId="{3D96A768-EB0E-C856-6A20-14DB093C1DE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9" creationId="{E3214B3A-307F-562D-F31D-F70E454A915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0" creationId="{FABD2C08-3033-DD53-3AB7-E6630C4BD3A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1" creationId="{B13606D0-4693-F325-07F9-260157452E0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2" creationId="{538DBDC8-96DC-8D3C-8871-5FEA65B5248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3" creationId="{C845CA7E-EFD8-AE74-808A-E49B7F6DAD1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4" creationId="{EBB9C4B7-0798-F675-497D-0D8DBAE9EED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5" creationId="{53493503-6ED2-192C-0028-705B30C2966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6" creationId="{0E48D1DD-157B-592F-87EE-20D6D0EBD2B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7" creationId="{29D2171E-37CB-3432-5E18-FA6A1740F1B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8" creationId="{E20D0A9F-3CD2-31B8-2631-DE4EA29B7B8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9" creationId="{0C1139E9-F8A7-F393-1D08-B3D1790B028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0" creationId="{D7A6E79D-8943-68DB-CBCF-5F8035DE650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1" creationId="{CD784975-B40F-6FEB-632F-C3A1BF3EAAC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2" creationId="{AE43477A-FB2E-3A37-7EE7-A9F9B3E08B0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3" creationId="{60C8C848-E0D9-0241-A339-32DEF7AD8FA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4" creationId="{C86F2BA7-A67F-EDFB-B041-C0B30ED3948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5" creationId="{BA26D63F-7227-9C18-D14B-F477D1F7A32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6" creationId="{25D8E187-A491-E3BF-E559-552B210CA94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7" creationId="{366A4278-937F-FC8F-18C6-BEC35757A48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17" creationId="{8480B126-6DED-0088-469A-5134B05C6D4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8" creationId="{3DCD8248-6D87-054D-041F-FC5EB625222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9" creationId="{2C3A9AA1-C610-70D6-135E-503DAC264BC5}"/>
          </ac:spMkLst>
        </pc:spChg>
        <pc:grpChg chg="add mod">
          <ac:chgData name="vonWaldow, Ulrich" userId="c64b3fe1-2fbf-4408-adc4-30add62e991f" providerId="ADAL" clId="{B99A90B8-7D29-4456-AFD4-0F3DBA13A596}" dt="2024-09-03T12:06:53.998" v="111246" actId="1076"/>
          <ac:grpSpMkLst>
            <pc:docMk/>
            <pc:sldMk cId="1238668126" sldId="910"/>
            <ac:grpSpMk id="4" creationId="{41248790-85B1-E23D-1EC4-F001E0BBEBDB}"/>
          </ac:grpSpMkLst>
        </pc:grpChg>
        <pc:grpChg chg="mod">
          <ac:chgData name="vonWaldow, Ulrich" userId="c64b3fe1-2fbf-4408-adc4-30add62e991f" providerId="ADAL" clId="{B99A90B8-7D29-4456-AFD4-0F3DBA13A596}" dt="2024-09-03T12:06:53.998" v="111246" actId="1076"/>
          <ac:grpSpMkLst>
            <pc:docMk/>
            <pc:sldMk cId="1238668126" sldId="910"/>
            <ac:grpSpMk id="141" creationId="{9DE1971A-1120-B655-CED7-F350F7B4D2E9}"/>
          </ac:grpSpMkLst>
        </pc:grp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88" creationId="{7FC56B64-2A56-EEF8-39FE-70A82991408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89" creationId="{F8E630B7-3246-86C2-EFC7-EF7B81B6183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0" creationId="{CD1B7064-B187-F60C-3794-459204BC8C1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1" creationId="{F6EDA18B-368B-44C9-C148-A7A5DF0EFF6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2" creationId="{00BA48DB-A105-954B-AC3B-ADAAFB57039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5" creationId="{11447033-795F-93DE-834B-91008590BB7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9" creationId="{A12DF77B-8B66-6EF6-A006-E7A337D3ADF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0" creationId="{03E7EAF3-A0B9-AAAC-D61F-8C895D90F70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1" creationId="{A5D101B7-67A1-1B58-2F7F-B1D4906C85F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2" creationId="{58681BD7-D564-12D2-19A7-D0B572CA524F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3" creationId="{CCCC0D0C-AEB7-E565-B4B3-8B303FC283B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6" creationId="{33371EB0-6948-C9BC-B369-75371DEC8F2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7" creationId="{A8A50E2B-1388-FBDC-85BE-AC838AE5943F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4" creationId="{A5F88E75-2367-4154-FC80-431B7877714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5" creationId="{128CE19F-32D6-0704-EEC0-3E8DBF11B34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6" creationId="{4700296A-FF96-8137-DF34-7A518BA33C19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9" creationId="{1B46F891-23AF-9552-7E5F-F445AE5B53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1" creationId="{093DE78B-881F-71E0-11CE-77195DF8654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2" creationId="{356F3C82-34A3-B755-570C-025CFBDB90A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7" creationId="{BFAAA907-A9A2-A560-636E-D3E798A715D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8" creationId="{46B7A7E2-3B28-53FF-552E-9D611DD9C5EC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7" creationId="{078DD25A-8145-345A-1B2F-7109810461A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8" creationId="{FADA0B83-9064-64AD-2B8B-55B0A27638C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9" creationId="{0376BF1D-6FEC-CDC2-0CD0-0D3315EBC61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70" creationId="{6C3D6B1D-A1F4-43FE-AED4-AFC28F8FC9F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71" creationId="{D0D507BB-1A9C-9733-3137-CD0A30BEF1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98" creationId="{06967208-FFE1-C625-415E-DA95796FFD24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99" creationId="{EE79562B-724B-C70A-EB2E-DFDB9AA42F9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0" creationId="{B976E481-A500-EE1A-FEE8-810B0682EEB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1" creationId="{9ADBAEBC-5BA4-6423-7FF9-9F319F4108A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2" creationId="{655F1051-3E07-382C-6D65-DCD53559CF1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3" creationId="{E4382D50-2929-A6F9-24D5-975FC1C2E36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4" creationId="{BE5EA50E-619D-0B53-A037-C50BDA10DF8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5" creationId="{933BD308-6FCD-729A-D093-60BB9D0472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6" creationId="{189980D2-CCFF-F4FC-5D52-D15340CE346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7" creationId="{5A5C705B-FF19-5F29-0C3E-9D03A167C4C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8" creationId="{50C816B8-F28A-084A-98D5-27337992CFE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9" creationId="{D62CBCE3-F234-8924-239F-6771426A575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0" creationId="{E3A22ED8-13C5-DF0B-A644-CE02FC4EEE1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1" creationId="{6E887A4B-1748-6D8C-3EBA-5668ED29E2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2" creationId="{99ACAE8C-E9AE-DDD2-9456-27FBC63A6F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3" creationId="{E40B6C63-A36D-C9BD-E141-064E05F2F14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4" creationId="{6E6637E1-CDDB-A4FC-549E-20B872C4B4A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5" creationId="{F569A983-A569-4FDA-096C-7C1DA500486D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6" creationId="{CE0D4F62-8554-92EE-9B68-DCB1AF4898D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8" creationId="{ABFB7891-E118-1CA2-0148-620D9EB5184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9" creationId="{A5CFF650-DA81-CDF0-52F6-16F20A39248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0" creationId="{20DF8A37-2E02-3EB5-26EC-07EA5701F29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1" creationId="{B5954A04-75B7-AC04-4917-A2BE03D3E5A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2" creationId="{7A05C74E-CD59-921C-3742-50A85B573F5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3" creationId="{43F8FC2E-4AD8-31E8-A489-9575049596BD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4" creationId="{B99741EA-3BFD-153A-4AA8-752309A1372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5" creationId="{68CB7C03-C031-5AD3-5538-2C075D14DB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6" creationId="{02460365-74CC-2C4D-3ABA-FEF9F05189B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7" creationId="{9DDD3B67-C70C-FF5F-1CE0-D65D076C7E5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0" creationId="{516EFEEA-164F-77B6-369F-2FCBD7E1D6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1" creationId="{AC5B4257-7F87-66DC-BC7A-6E9DCFE30AF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2" creationId="{8A3E2EB3-C9CB-5FFE-923E-4D67228DE292}"/>
          </ac:cxnSpMkLst>
        </pc:cxnChg>
      </pc:sldChg>
      <pc:sldChg chg="addSp delSp modSp mod modClrScheme chgLayout">
        <pc:chgData name="vonWaldow, Ulrich" userId="c64b3fe1-2fbf-4408-adc4-30add62e991f" providerId="ADAL" clId="{B99A90B8-7D29-4456-AFD4-0F3DBA13A596}" dt="2024-09-03T12:06:37.119" v="110575"/>
        <pc:sldMkLst>
          <pc:docMk/>
          <pc:sldMk cId="1315665869" sldId="912"/>
        </pc:sldMkLst>
        <pc:spChg chg="mod ord">
          <ac:chgData name="vonWaldow, Ulrich" userId="c64b3fe1-2fbf-4408-adc4-30add62e991f" providerId="ADAL" clId="{B99A90B8-7D29-4456-AFD4-0F3DBA13A596}" dt="2024-09-03T12:06:11.798" v="110541" actId="948"/>
          <ac:spMkLst>
            <pc:docMk/>
            <pc:sldMk cId="1315665869" sldId="912"/>
            <ac:spMk id="2" creationId="{D147B0AC-7274-654C-D358-C88E5C3BA48E}"/>
          </ac:spMkLst>
        </pc:spChg>
        <pc:spChg chg="del mod ord">
          <ac:chgData name="vonWaldow, Ulrich" userId="c64b3fe1-2fbf-4408-adc4-30add62e991f" providerId="ADAL" clId="{B99A90B8-7D29-4456-AFD4-0F3DBA13A596}" dt="2024-09-03T12:06:13.970" v="110565" actId="478"/>
          <ac:spMkLst>
            <pc:docMk/>
            <pc:sldMk cId="1315665869" sldId="912"/>
            <ac:spMk id="3" creationId="{C8650694-0B32-CD15-CC7D-703084C60AD8}"/>
          </ac:spMkLst>
        </pc:spChg>
        <pc:spChg chg="add del mod modVis">
          <ac:chgData name="vonWaldow, Ulrich" userId="c64b3fe1-2fbf-4408-adc4-30add62e991f" providerId="ADAL" clId="{B99A90B8-7D29-4456-AFD4-0F3DBA13A596}" dt="2024-09-03T12:06:03.811" v="110537"/>
          <ac:spMkLst>
            <pc:docMk/>
            <pc:sldMk cId="1315665869" sldId="912"/>
            <ac:spMk id="4" creationId="{30FEE633-9CE7-D725-8B1C-7F182EF1F015}"/>
          </ac:spMkLst>
        </pc:spChg>
        <pc:spChg chg="add del mod modVis">
          <ac:chgData name="vonWaldow, Ulrich" userId="c64b3fe1-2fbf-4408-adc4-30add62e991f" providerId="ADAL" clId="{B99A90B8-7D29-4456-AFD4-0F3DBA13A596}" dt="2024-09-03T12:06:11.848" v="110562"/>
          <ac:spMkLst>
            <pc:docMk/>
            <pc:sldMk cId="1315665869" sldId="912"/>
            <ac:spMk id="6" creationId="{EF45CEF2-C945-0451-1BE5-206E8D2CC58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" creationId="{CA62489F-6094-5703-363F-DCF2E213D95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" creationId="{63BDE9ED-B22B-BFE9-9FB0-1B1412FA35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" creationId="{00138BC9-C038-6E69-FF91-DE551CE7FEF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" creationId="{2041F482-B3B6-28EA-5421-72626CB15B5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" creationId="{ADB20DC8-1746-33D5-7C45-EB64A69EDC1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" creationId="{48E8D709-25E4-9D9D-DEEF-FFC9060AF1E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" creationId="{5A5C688F-9EBF-4540-E56B-2E6B16E4CE6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" creationId="{D52E301C-D374-C6B1-6248-92CDB2F24A9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" creationId="{791E7E01-D16B-5AF4-1025-2F1372AFDC5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" creationId="{66D3C07D-1908-184B-7EF7-D18ABCA4FEB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" creationId="{628A9DC7-72FB-7069-D9AD-E9A83D91DEF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" creationId="{0F76118B-6EEB-ACA7-E53B-C47EBD36DC3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" creationId="{D11050E7-3D2C-CEF2-AC0A-669960CDEC4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" creationId="{3CCA4A4B-255D-C1B0-7F6D-42406A876B9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" creationId="{2BBF95E0-63F2-E918-689F-711FD7471D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" creationId="{D77223FB-A0B8-6667-5A37-183B7484DF2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" creationId="{5625C6E6-8FA4-F77F-B58F-0C3A3574100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6" creationId="{A2267AC5-404D-7EA8-D94F-AD2D2237FCA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7" creationId="{11111111-32D0-3D72-51C8-5B66D03CA4E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8" creationId="{3A7DE3BB-56C4-910E-9A10-8A47921645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9" creationId="{70466688-D982-6115-CB4D-CB49C4C635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0" creationId="{AC4FABCA-C6E4-F995-9DF1-38290A1927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1" creationId="{0592BE50-40DC-BD6E-BE4E-81C54EE9A00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2" creationId="{DAF774C3-1118-5AEF-EE6F-29BE4C6A7D6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3" creationId="{4644322D-8251-759D-02FB-AD43F92C73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4" creationId="{27927B02-D6A9-F62E-79C3-488DC101399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5" creationId="{330E7686-FF0C-2BA4-5478-F80AE995D2D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6" creationId="{E837D721-6674-9FC1-C245-9356BD56D8A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7" creationId="{E3414BC7-6794-365B-D61E-C8B5A7F832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8" creationId="{98519E4A-B517-CEF4-264A-58E552BA2AB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9" creationId="{C82B5D7C-C702-1B2B-EAE9-6B02FC8CCDB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4" creationId="{F37A768C-B208-5209-6334-F40EA0A4ABD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5" creationId="{026EA3B6-537E-19D0-430C-1A29DADF00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6" creationId="{D87E3E64-FFD9-E0C8-DC9A-3F30844D1A8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7" creationId="{50BD4065-D0E6-77A8-A9DF-ACF9C0720B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0" creationId="{8EEA4942-519D-D96A-156B-0455444D963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1" creationId="{89EA5D26-957D-090E-7045-214A9EBA2F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2" creationId="{F8CBF6F7-F477-89C0-0050-E4027279E9C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3" creationId="{98342694-F78B-7156-0606-316C6E73D14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4" creationId="{AE8808BC-C58C-4806-A4FE-3C53A6B91D2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7" creationId="{984D5DCB-CB9E-0227-DFF1-C06BDEEA17D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0" creationId="{885C912B-E8CA-4349-6DA1-A7EE8F1269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1" creationId="{B544CFE9-E75B-13E3-D17F-9B0D8CD7EF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3" creationId="{BDE88EFD-B076-EB83-A8DA-15F1FB53E3E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4" creationId="{6B9E5708-3FA8-B06C-5975-7EBEA75C521A}"/>
          </ac:spMkLst>
        </pc:spChg>
        <pc:spChg chg="mod">
          <ac:chgData name="vonWaldow, Ulrich" userId="c64b3fe1-2fbf-4408-adc4-30add62e991f" providerId="ADAL" clId="{B99A90B8-7D29-4456-AFD4-0F3DBA13A596}" dt="2024-09-03T12:06:37.119" v="110575"/>
          <ac:spMkLst>
            <pc:docMk/>
            <pc:sldMk cId="1315665869" sldId="912"/>
            <ac:spMk id="88" creationId="{62B5A2F7-EF65-3F5F-AEF0-D7C8638C3E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9" creationId="{3393B0BC-00A6-E9CE-F125-0B9C8D828BC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0" creationId="{881C0D92-C9EB-8E9D-C6C1-370D99CF188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1" creationId="{12B7D9E0-543B-969E-28C3-56DBD7555E4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4" creationId="{09BA93D2-15F8-2D39-279D-C687612DC0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5" creationId="{6BCEDBE7-DAB6-BDDC-4CD6-060102C9BE3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9" creationId="{79FE9ABE-9306-4E81-788A-6CB36B0F0D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0" creationId="{B6E740BE-B3AE-4A4C-0885-711DC69FC5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1" creationId="{EBE9731B-2717-0273-A777-D69A73C80E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2" creationId="{4074C4A5-5892-0703-DC79-7490FD8E10D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3" creationId="{F4A0F7D9-E377-991D-3BC7-8A019659758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4" creationId="{11739858-3EA9-9DAF-6212-D21F72BF38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5" creationId="{D9D2CE86-E8AE-ABBC-C35B-0939BB615D2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6" creationId="{B1C521B2-6CA3-9A1C-556C-24E5BF9B45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7" creationId="{00241EE9-FA76-3441-83E2-247BCEC3D3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8" creationId="{1068C2D2-F652-01D0-50BD-2001A7E990A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9" creationId="{57A838BB-5F9E-DEDF-112E-0B270D2BB91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0" creationId="{D2062033-E2F9-91CA-2016-80677D65159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1" creationId="{6717DADC-4784-BA0D-37A1-AC30A4806D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2" creationId="{88F99C48-781E-17D4-F0AD-9B89ED545C7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3" creationId="{3AD1504B-C1FF-FD05-21C1-F24695E2202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4" creationId="{E09A1A75-D337-4032-A2A0-847780D287E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5" creationId="{30C52A8C-5F6D-8660-266B-34F107BF5F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6" creationId="{656F0969-F97F-09B1-DF9D-25E977C2688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7" creationId="{2540374A-7F39-918C-32F1-C6C689DCDEC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8" creationId="{0075BAA3-BD42-FBC4-CD42-D6A9773AD10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9" creationId="{1F423485-BDC5-288C-A97E-3E7EFBEA876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0" creationId="{A9E27553-0CC2-E0B5-B215-D7B47EA19B8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1" creationId="{06C5F479-F1E2-01A7-6845-B934A4F796D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2" creationId="{E01D5935-CECB-2C21-6C5F-4A21601CA6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3" creationId="{48670007-A248-F493-D01F-F8FBDCC0E39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5" creationId="{77F173AF-7D77-6202-0CC5-71024B099AB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7" creationId="{8B8207E6-5CB2-9C90-E656-E1E7725D7B4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8" creationId="{CA680DAB-134C-ED63-8ACD-A09613DDF1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9" creationId="{DC7D1E14-29CF-FDD6-4B5F-E1B4592C29E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0" creationId="{D85FB252-BC6A-AD5D-D385-CA84614474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1" creationId="{871F60FF-3C3A-3340-6A96-3ED1EDC26C9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2" creationId="{2B1EFBC2-B800-7B47-D8A7-274C97B58F1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3" creationId="{C53EE69E-21F0-BA4B-72D5-06BEBD2EBC6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4" creationId="{2C0E080C-BFA2-606C-6C8E-396E0EA2C18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5" creationId="{CD5DC3E7-C0F4-A075-89BF-B91E9F4228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6" creationId="{C6D48603-1EB9-3B50-823B-00DBD6B8ACF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7" creationId="{65E80C1F-E707-1CD0-8983-BC2D47D4BF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8" creationId="{1B112627-3D0A-2427-9F1D-E1B1F292108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9" creationId="{FC62E127-45D5-81F2-A187-9964C99519C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0" creationId="{0A750C8F-AB82-0B73-E1D2-C546482E18B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1" creationId="{E2326F57-7A49-C4FF-06C5-7AEDA1D232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2" creationId="{823A172E-1B94-AF0A-281B-BE34628A3CF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3" creationId="{443D2630-D203-FD1A-EC9E-15E3EF59AA0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4" creationId="{3059BAC1-0632-0FAB-635D-3545820DDAF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5" creationId="{C9B3BB02-5179-7DF4-0BB7-AA248A2BC9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6" creationId="{2315256A-4E80-2C94-CCD5-57A8B48B74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7" creationId="{F01F151B-D2B8-EE28-C7D7-05B60AB0BAE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8" creationId="{CFFD2F92-6831-4337-5FE5-EBAB7C53550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9" creationId="{C6A11A35-EC86-77CE-E325-3A71032D08A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0" creationId="{55718A07-EA15-C07A-658A-77352B51BD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1" creationId="{22BCB276-223E-ACF3-5FDA-531511B342C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2" creationId="{F42B7F54-C863-38E1-565F-36CE1D3B70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3" creationId="{60FA3FDE-F2F5-12D5-DA45-9EC862C148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4" creationId="{BABA7C4B-8CF6-7E86-33A6-D3B3CCF8FF0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5" creationId="{1E3C860B-F6F3-247C-EF42-EB6749E06F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6" creationId="{C6E4C412-AC0D-7911-CAB3-79386EDCAE7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7" creationId="{1EBCE131-1EDC-5AE8-0E74-C1497DCBC8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8" creationId="{A849E913-D11E-BFB8-AA6F-B6FE21ADA2D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9" creationId="{341513F3-A757-D949-7395-C1FE98FAB20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0" creationId="{1F911110-F09F-E8E7-3D3A-E72D47ECE0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1" creationId="{C4494242-6615-6630-8118-E3CF81D7A35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2" creationId="{01DACEFF-223F-CA70-0E71-5620169277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3" creationId="{DE0A37A3-DC1F-AA34-BE05-1799631801F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4" creationId="{3F1D47E7-5118-C7BD-5C4A-F85D5E7C73D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5" creationId="{CAD1AA27-A094-5722-6223-480729299E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6" creationId="{6FC970A7-9B11-22FF-521C-F8FB97DD299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7" creationId="{33DD6162-DB55-E9FC-E2C7-761C8ED182E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8" creationId="{C65555ED-6EF0-4902-9DB7-F250BB88DA3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9" creationId="{89C2D23D-EFC4-13F4-31C8-9112811F147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0" creationId="{502646BD-39A6-E6FD-AF7F-E0A021C96BF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1" creationId="{77059A78-EBCA-9081-EFAC-9CEAAA1B0F4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2" creationId="{B387AFA8-DCBA-927D-7B17-A2649CCEFB7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3" creationId="{C1AD4288-4CA9-F138-C9E7-3012843D5D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4" creationId="{92F11753-D4F1-A72F-E52C-91399D40243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5" creationId="{E40585D4-AAAD-D667-9E70-DCDF79B361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6" creationId="{34FB9F1C-58B9-1A2C-52EF-64A14C63D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7" creationId="{9B617715-C047-0F48-7D5C-AF732C090E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8" creationId="{12200FF5-94BF-F670-BB9B-A3D130A9F46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9" creationId="{908577B3-CD43-82EE-A4E8-70B46215020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0" creationId="{E5C82EE4-5F70-5827-42DC-6BBDB439F65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1" creationId="{23536159-0A61-CFC6-B34B-54FF4E1520E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2" creationId="{6C5F0E4A-5811-1D55-6A6E-5575BEFF49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3" creationId="{3FA8BD29-31DB-F0BE-DCBF-09DD83FD3B0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4" creationId="{9D6F6BFF-B5E7-A32B-2F59-4420D3A82A1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5" creationId="{A77AB7F7-57C0-9107-6EA3-8438869EAF5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6" creationId="{4F00BA70-36C3-D7CD-79F9-EB0412B0E58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7" creationId="{65E3ADF2-FC82-241E-B0F6-12A1762FB72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8" creationId="{C8EBCB79-D43A-930F-7120-961FE609598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9" creationId="{9045C5CB-D7DA-805A-5099-D197968B00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0" creationId="{9AEC68DA-5CAC-092F-46CB-489D7A653C3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1" creationId="{C1DDD5C3-DCF1-B429-0372-DA1B1948337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2" creationId="{E20BDDCC-FC2C-7340-8BDA-AD0D85B5717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3" creationId="{7548957B-BA70-1930-1A6B-75397875E4D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4" creationId="{C670018D-75D9-7387-6B8A-E02B72BBF9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5" creationId="{0414BED3-0250-36CB-46E8-683C872315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6" creationId="{6B04F803-B9D8-0928-AA26-99C7915A612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8" creationId="{8C1AF7E3-3154-45BC-9D8B-BCF0ECC431E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9" creationId="{AD3C7D11-EB82-7F3D-16AC-50DFB493A1C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0" creationId="{03E665D6-FC8A-8D9E-743A-389882DE4D6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1" creationId="{69B7833B-8525-3642-6946-A479822B95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2" creationId="{0C3F220F-5A25-A66A-2DBF-9AFA1CE9B61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3" creationId="{C5A21BCB-279C-859E-997A-A3D906A33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4" creationId="{F37DE71F-D645-4156-FB18-F0A92C83BE9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5" creationId="{16D8FAEE-8FFE-EC78-6673-E567337CB32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6" creationId="{D8B7C913-6C79-EDC3-2E5B-6DD0F3FE42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7" creationId="{836ECD32-4099-DC8A-3DA2-1ED3742B164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8" creationId="{4A569BD9-3AAA-00A0-5C43-AAE25527FE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9" creationId="{A256F07C-1F1C-42CC-CD37-5F195507A18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0" creationId="{1B5B3670-904F-3156-B9A9-7D7A65E5484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1" creationId="{1D4CE1AE-1614-E917-E977-6096A82A5AC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2" creationId="{E5D1C151-3A23-33D7-37AC-A7583EC5DE4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3" creationId="{E70F0424-6CF2-34A3-AE69-DA3A1E48AD9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4" creationId="{A0FEAD2A-EE17-869F-650B-0D00A4F04D8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5" creationId="{A4E9ADBC-D51F-F5F1-D3C9-C46A8089696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6" creationId="{7404F09D-821D-3C65-6363-B69860A6196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7" creationId="{408BF01A-33D1-CB22-5C04-6EDF4ED1028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8" creationId="{78C21754-59DD-C4A9-E0C6-27355A06431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9" creationId="{6949AB6B-73EE-38BA-812F-5508BEC87F7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0" creationId="{43217E58-400F-9EF5-D764-8F1E193F642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1" creationId="{164AABB1-BA8D-3687-D4AD-7B78F3FD5D2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2" creationId="{63DFAA9C-4033-5BF1-26AC-AD2A8EFBFAC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3" creationId="{FE10069C-8514-A0D9-A89E-CDD9D968AD1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4" creationId="{55BD8916-9CDE-7937-C796-89B3A62CF08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5" creationId="{833FD714-8D36-BD2D-7B45-B15037E660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6" creationId="{56C4509A-C356-5A92-9E60-74DD3C3988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7" creationId="{6E09092C-5CFA-6637-6C70-14A3966CCDE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8" creationId="{6182758D-204C-BCCE-3CD2-5C0CBD20504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9" creationId="{3381B6AB-A7D4-2342-F9FE-FE101C3501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0" creationId="{6C98F96D-19BC-C6ED-BAA9-99F21803351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1" creationId="{D9EFF4DB-9A9A-3B7A-0FD1-3D9CAC0D1C4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2" creationId="{A9C07305-BCD2-CF0B-57D9-BC0FC2BEF76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3" creationId="{9205E983-DE37-538C-966E-AE55B1F952B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4" creationId="{0287D709-9E91-8222-EAC1-6095AD3BE89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5" creationId="{555C75D8-C618-C3F9-266A-280C4623F61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6" creationId="{748D1487-E9EF-D970-A7E6-4D8C3830F15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7" creationId="{E9278496-6497-97E0-A282-7FCBD676466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8" creationId="{80DFD443-54C9-E508-E3A4-B5888F208DD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9" creationId="{D359EBF8-3807-689E-BB7D-DA62F9B86CE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0" creationId="{E072236C-F58C-EE66-01ED-3125F45D262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1" creationId="{BA3ECCBA-10BC-A9C2-FBBB-1C320CE45AF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2" creationId="{3CD71270-8613-10D3-2218-E38F43523D8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3" creationId="{749CB44A-6EB2-AD9D-CF35-556A921FAC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4" creationId="{5F4290F0-A06C-65FA-D3D8-652668C962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5" creationId="{89BFC986-ADC5-2D32-FEA6-BDBDCAD7CAB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6" creationId="{D1721ABD-779B-29CF-B76B-97419D9282C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7" creationId="{DA53BFB2-B00C-2298-4065-D6B4D4DA68E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8" creationId="{BF68FA72-CA8E-ABC9-2D45-54E4A7EDE95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9" creationId="{EAB79774-58AC-EF06-E9FA-EA2E343EB25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0" creationId="{C53616BC-81C9-31B1-1A6A-1E58A2C659B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1" creationId="{B96B78FD-3E0E-8253-7190-3E222EDB588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2" creationId="{24F581A5-B6C8-E4E0-4D46-DBF1E3D1BDD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3" creationId="{D49C1738-E071-D143-2BE1-4AD28ED17B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4" creationId="{8150B484-3254-2A0D-144D-CF4F7F2C190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5" creationId="{2BE1BBA1-3649-344B-BE8F-529CDAA89F1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6" creationId="{88F0B107-5A4B-6C96-F970-7FC3219279A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7" creationId="{FD33B7EF-4DF5-5CF3-64C4-BCCEDE6D751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8" creationId="{8A6CF48E-0A4E-ED1C-6660-9971F4753E3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9" creationId="{5662295D-772F-58FD-C8AC-DBC28E50310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0" creationId="{AC3B73AE-AD6F-F765-FB60-9B8E81570F9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1" creationId="{CB60BB44-0AF4-E495-FF5F-A38B733683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2" creationId="{BD688531-8FFE-E461-D728-8EF3B99BBC0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3" creationId="{7D5AEA40-79D3-B7BC-F3BE-064449F7560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4" creationId="{90718AFC-E761-10E4-4BA7-128E6EBCBA2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5" creationId="{A822A0A0-6572-92A3-0AC2-54C90C2D25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6" creationId="{8266A248-013D-F14A-7CB8-EB2C8AC0D1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7" creationId="{62CF3CD0-D83E-8248-A34F-FD42482C89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8" creationId="{0B3A0E30-3883-8E3B-C1CA-1E7C8741529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0" creationId="{8F859F11-2C97-1905-2849-5A5012212C9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1" creationId="{3C3CBA5A-E1A2-5740-572A-23B1DD41143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2" creationId="{9F915D2F-116A-B6B0-AFF5-73FA174B65E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3" creationId="{8C553952-1AA3-C042-7FE5-CABDC9206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4" creationId="{36080592-C37B-6B99-E15A-B6BE91C012B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5" creationId="{A2272CBC-312D-5D77-3C23-784C351F468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6" creationId="{3684A76D-DA48-C5FD-2BB1-DB470ECD2E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7" creationId="{1D352188-2836-CC6F-A4EF-935F087255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8" creationId="{82D7F61F-B819-0BD2-62E7-A02FB1D0774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9" creationId="{35BC360B-799F-A960-8334-69993025C8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0" creationId="{02682EAF-1805-431B-E5F9-7C0C797C575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1" creationId="{B583C0C4-FC31-233C-F8A0-C32238B887C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2" creationId="{57F65913-EDD5-3521-4547-5EC790B161C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3" creationId="{2115C5D8-D25D-A6FF-C9E9-34FF915235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4" creationId="{4FC8D2C2-C4F7-331A-7526-2417BDCF314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5" creationId="{561C363E-A4FB-140D-3027-D5EF3C80DF9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6" creationId="{EAA499AB-F02F-A0CF-F33B-ADD5E1EB1E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7" creationId="{2FB17E0E-D20C-6810-3E81-ED60AD146F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8" creationId="{CF18BB8D-F989-8CF2-D358-4A12213FC15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9" creationId="{FE216CF6-6F36-5D64-6ACE-0425AA25142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0" creationId="{CDCED4BA-22F4-555C-C051-89ADF0AA658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1" creationId="{2F014A96-2802-843E-F166-53DB25CF58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2" creationId="{68C8A71D-E958-3B20-3B46-81451D8AB10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3" creationId="{67614068-7BCB-D66B-5ED6-DF6C06D7B6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4" creationId="{14F1CEA5-27D0-ABCD-5AC3-9807952568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5" creationId="{069FC7EA-7459-9D36-A617-DB1762043A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6" creationId="{ECBFE6C4-2A92-51C7-8090-E78FE8DAC4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7" creationId="{CE02AE8A-4C2B-61EE-64A7-DB06F55211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8" creationId="{B71C5803-D26F-5D7C-07D6-A7CE51C18A8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9" creationId="{3BD61882-B0FC-86FE-2AA1-00425BDDB5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0" creationId="{F718F9F2-3D38-7B50-5EC6-3F103244EF4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1" creationId="{EF4E66A1-AC70-CC52-96A4-E1991731D08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2" creationId="{92A0D0E6-CC3F-A791-1F70-B21B4C5673D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3" creationId="{AF18850A-F9B6-8A5D-6D92-1E89FC93239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4" creationId="{A567D57F-FF3F-C893-2E43-44591F097B9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5" creationId="{076DB699-7F12-B860-D09D-5A3478DE1CC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6" creationId="{1B376B5C-B032-4C76-76CF-A5AA343F5E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7" creationId="{303477F7-6E0A-86F3-8E97-005AD3913CB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8" creationId="{63F17D1B-0AE3-A703-BD27-CEB0E4A97D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9" creationId="{3F92E4D4-53FB-96F4-46DF-F70A8EA1763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0" creationId="{B60BD41C-EC7C-132E-8936-6992EFD17F0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1" creationId="{336E7F9E-4F6F-3B0C-5A2D-70B312E7652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2" creationId="{CF483C29-8CE7-B83A-E4F2-A69646FEADC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3" creationId="{F95D49B7-BD0E-D19F-048F-CA4B9787E58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4" creationId="{BBF6694D-D5B2-62C6-46A1-AC92BF640F3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5" creationId="{822DF6E4-5BB5-5275-2B81-6D73883876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6" creationId="{8F6E8B1B-3086-DCD7-D9A8-6F96322EB1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7" creationId="{CDECA253-E40B-0D35-E23F-64C5CD5326D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8" creationId="{2EAD3187-0733-5229-940B-A2615DCF38A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9" creationId="{97432CAE-0E3F-0A28-C805-65301AACEA6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0" creationId="{EE38509E-C598-5869-B109-E32C142BC32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1" creationId="{184AEAD8-2195-CD65-A4F0-D5B5AC9337A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2" creationId="{DE269C12-1329-A389-0C46-0F752A63524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3" creationId="{798A230D-2F49-8BB2-EC3C-AA7B8A81F2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4" creationId="{A4477EBA-CD27-A78F-4FE6-7F62D8C6F7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5" creationId="{7C426507-9EDE-C2FB-C87B-47BC8E5A3C2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6" creationId="{8AF2AC68-86E9-539C-0ECF-3C5222BEB0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7" creationId="{E994FF40-59A6-DB3F-DCD6-2056B14704F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8" creationId="{87969A27-198B-C5EC-9ED4-49C0E5F29A71}"/>
          </ac:spMkLst>
        </pc:s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24" creationId="{69C6E424-2020-60B6-2C40-02FB107785E2}"/>
          </ac:grpSpMkLst>
        </pc:gr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26" creationId="{BACA1B31-62BA-01B6-DB1F-113A58D219C8}"/>
          </ac:grpSpMkLst>
        </pc:gr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97" creationId="{1B246AFB-2DB4-6ADC-ADD5-B7CC863FD5F8}"/>
          </ac:grpSpMkLst>
        </pc:grpChg>
        <pc:graphicFrameChg chg="mod">
          <ac:chgData name="vonWaldow, Ulrich" userId="c64b3fe1-2fbf-4408-adc4-30add62e991f" providerId="ADAL" clId="{B99A90B8-7D29-4456-AFD4-0F3DBA13A596}" dt="2024-09-03T12:06:11.851" v="110564"/>
          <ac:graphicFrameMkLst>
            <pc:docMk/>
            <pc:sldMk cId="1315665869" sldId="912"/>
            <ac:graphicFrameMk id="5" creationId="{5F007AC6-5B74-3BFB-3DEA-E1A8F8B024AA}"/>
          </ac:graphicFrameMkLst>
        </pc:graphicFrame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4" creationId="{ACBBE467-B9EB-4D9F-369D-FF8BC71B9C69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5" creationId="{67A0400B-9915-F549-E1D5-D43514F1A4C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6" creationId="{DBE42E2D-0A51-5ACB-A39D-E0A81B436DC2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7" creationId="{120C1A18-3386-84C4-A5E7-2AA01283C3D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8" creationId="{EC334463-70BE-8BB0-AB30-9BE02C3DD44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9" creationId="{A74F8244-F983-58A6-A838-8BA62DADD9B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0" creationId="{39C9AAA3-F6D8-731D-461D-5D19AE9CC34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1" creationId="{B74EB693-A1EC-9E60-0429-CEAA6ED0C8CA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2" creationId="{CA1EA101-3424-B1CA-36A4-5289B8591F4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3" creationId="{147A30C0-3CC3-7FD0-0105-3423D67AFF3D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4" creationId="{337C7BCC-DD78-D362-7D1B-CAB76D2133E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5" creationId="{8367C4A4-68BA-B823-CDF7-7EA42DF2E87E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0" creationId="{477DE9D8-F9D2-22C0-609D-F637F6498A6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1" creationId="{BF990BAE-0103-7FE4-D0E5-0749A18546E3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2" creationId="{8FF6C105-8E6B-B7A6-8BE5-69A5E78CF5B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3" creationId="{92C73850-75DF-EAE7-FF37-EB1AD6300722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4" creationId="{D5C01A47-62A6-30D5-2393-226C2BD5331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5" creationId="{0C15CBF6-1527-B88C-2A0F-7102CEBD6F3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6" creationId="{E09A8ED4-F2A0-2B70-268F-4A6D693F903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7" creationId="{2A262E9C-A3CE-657A-C6F1-442C81AC21F6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8" creationId="{170FD4FA-13E1-7C7F-1B08-E786B67F6A6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9" creationId="{F6A07C2F-5476-0603-7E2B-99D7CC555EC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0" creationId="{0E2DB1AF-7812-2C8E-04A3-DB96E5431A4F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1" creationId="{65407E2C-87D4-A3B0-CC44-B903FCB04730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2" creationId="{57983D11-BCE3-5F04-F9FF-51370116DDA3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3" creationId="{065AD7C9-6F97-813D-E14B-98E366D4ED6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8" creationId="{9B09E0C7-CD43-3AD2-967C-36E8AD739037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9" creationId="{EDBE403A-DFCA-9435-82CB-4179F346249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5" creationId="{B8CC50B5-78EC-EE64-0769-81939D4BF02A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6" creationId="{46CB6280-2073-6F83-672A-B2A4193317D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8" creationId="{C43F3E4B-0AB7-37CF-D952-F1843EA2383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9" creationId="{11B324B4-3F4A-C6EA-50F6-F8DE3289462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2" creationId="{5B861AA8-CE53-5306-4163-62114BE51947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3" creationId="{BA62C979-C0F7-D5C0-AD1B-CC617632D4D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6" creationId="{F4E754FF-5FB8-4F62-37A3-F28B9562A25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7" creationId="{D9F8D49C-D1FE-B6AD-26FA-631576F1558F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8" creationId="{02C02388-B236-A8BC-1D8F-7DA1F6429631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92894386" sldId="91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92894386" sldId="915"/>
            <ac:spMk id="3" creationId="{8B2A83CC-22C2-5579-C1E7-7FB805EB5D8C}"/>
          </ac:spMkLst>
        </pc:spChg>
      </pc:sldChg>
      <pc:sldChg chg="modSp mod">
        <pc:chgData name="vonWaldow, Ulrich" userId="c64b3fe1-2fbf-4408-adc4-30add62e991f" providerId="ADAL" clId="{B99A90B8-7D29-4456-AFD4-0F3DBA13A596}" dt="2024-09-03T12:05:52.776" v="110514" actId="6549"/>
        <pc:sldMkLst>
          <pc:docMk/>
          <pc:sldMk cId="2123028648" sldId="917"/>
        </pc:sldMkLst>
        <pc:spChg chg="mod">
          <ac:chgData name="vonWaldow, Ulrich" userId="c64b3fe1-2fbf-4408-adc4-30add62e991f" providerId="ADAL" clId="{B99A90B8-7D29-4456-AFD4-0F3DBA13A596}" dt="2024-09-03T12:05:52.776" v="110514" actId="6549"/>
          <ac:spMkLst>
            <pc:docMk/>
            <pc:sldMk cId="2123028648" sldId="917"/>
            <ac:spMk id="3" creationId="{4F01748D-5071-3B17-7AE8-9F7AF2BD4AD9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197386554" sldId="91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197386554" sldId="919"/>
            <ac:spMk id="3" creationId="{80344124-253C-A9D5-BD12-72B9232A9123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05:48.202" v="110513"/>
        <pc:sldMkLst>
          <pc:docMk/>
          <pc:sldMk cId="455093818" sldId="920"/>
        </pc:sldMkLst>
        <pc:spChg chg="mod ord">
          <ac:chgData name="vonWaldow, Ulrich" userId="c64b3fe1-2fbf-4408-adc4-30add62e991f" providerId="ADAL" clId="{B99A90B8-7D29-4456-AFD4-0F3DBA13A596}" dt="2024-09-03T12:05:48.153" v="110490" actId="948"/>
          <ac:spMkLst>
            <pc:docMk/>
            <pc:sldMk cId="455093818" sldId="920"/>
            <ac:spMk id="2" creationId="{B61F4EF0-CD1F-A572-B460-CD0D5DC2679B}"/>
          </ac:spMkLst>
        </pc:spChg>
        <pc:spChg chg="mod ord">
          <ac:chgData name="vonWaldow, Ulrich" userId="c64b3fe1-2fbf-4408-adc4-30add62e991f" providerId="ADAL" clId="{B99A90B8-7D29-4456-AFD4-0F3DBA13A596}" dt="2024-09-03T12:05:47.627" v="110489" actId="700"/>
          <ac:spMkLst>
            <pc:docMk/>
            <pc:sldMk cId="455093818" sldId="920"/>
            <ac:spMk id="3" creationId="{FE08D06D-F092-2259-80C3-3569E9D0860B}"/>
          </ac:spMkLst>
        </pc:spChg>
        <pc:spChg chg="add del mod modVis">
          <ac:chgData name="vonWaldow, Ulrich" userId="c64b3fe1-2fbf-4408-adc4-30add62e991f" providerId="ADAL" clId="{B99A90B8-7D29-4456-AFD4-0F3DBA13A596}" dt="2024-09-03T12:05:37.948" v="110480"/>
          <ac:spMkLst>
            <pc:docMk/>
            <pc:sldMk cId="455093818" sldId="920"/>
            <ac:spMk id="4" creationId="{2DD463CC-5D90-A63B-8164-F3C0FF8D9DCF}"/>
          </ac:spMkLst>
        </pc:spChg>
        <pc:spChg chg="add del mod modVis">
          <ac:chgData name="vonWaldow, Ulrich" userId="c64b3fe1-2fbf-4408-adc4-30add62e991f" providerId="ADAL" clId="{B99A90B8-7D29-4456-AFD4-0F3DBA13A596}" dt="2024-09-03T12:05:48.200" v="110511"/>
          <ac:spMkLst>
            <pc:docMk/>
            <pc:sldMk cId="455093818" sldId="920"/>
            <ac:spMk id="7" creationId="{5B99247B-63B6-C5B9-DACE-5742343940A1}"/>
          </ac:spMkLst>
        </pc:spChg>
        <pc:graphicFrameChg chg="mod">
          <ac:chgData name="vonWaldow, Ulrich" userId="c64b3fe1-2fbf-4408-adc4-30add62e991f" providerId="ADAL" clId="{B99A90B8-7D29-4456-AFD4-0F3DBA13A596}" dt="2024-09-03T12:05:48.202" v="110513"/>
          <ac:graphicFrameMkLst>
            <pc:docMk/>
            <pc:sldMk cId="455093818" sldId="920"/>
            <ac:graphicFrameMk id="5" creationId="{88B90A7A-94D3-DC3F-D342-AF5E18920279}"/>
          </ac:graphicFrameMkLst>
        </pc:graphicFrameChg>
      </pc:sldChg>
      <pc:sldChg chg="delSp modSp mod">
        <pc:chgData name="vonWaldow, Ulrich" userId="c64b3fe1-2fbf-4408-adc4-30add62e991f" providerId="ADAL" clId="{B99A90B8-7D29-4456-AFD4-0F3DBA13A596}" dt="2024-09-03T12:05:27.507" v="110457" actId="1036"/>
        <pc:sldMkLst>
          <pc:docMk/>
          <pc:sldMk cId="1018583278" sldId="92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18583278" sldId="921"/>
            <ac:spMk id="3" creationId="{CAA60BE0-5F15-20BE-F9E6-1AF33DF20E1F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8" creationId="{43FDC3E9-4C8A-DDE5-455C-4C70999A89B8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9" creationId="{239EA88A-A26A-8916-DD82-A801FC4557F3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0" creationId="{F767340C-472A-1AC0-5F00-923B905A8ACE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1" creationId="{87885392-F18B-C715-8EC2-774C00218C08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2" creationId="{38A251F6-1A69-7778-896E-2E426D391768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4" creationId="{C0E8546C-5BA4-8DFC-AEDB-3968412EC20A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5" creationId="{4FBE9480-0447-66EB-3970-9E0C7C3C1691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6" creationId="{E8CEBDE0-EAB5-FF9D-D7BB-AC26C013FF6C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7" creationId="{538ED1C3-6906-86BA-FC25-F870EAE11CAB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8" creationId="{B3D4DED4-C251-EB8A-841D-EC1990648068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9" creationId="{CB75D5DD-5907-0613-51C3-045BB3F457E2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0" creationId="{A76580CC-511E-DA9F-1120-E259A27BDCE4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21" creationId="{0FED9248-9C56-90D5-0DE1-E259BECD4DA4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2" creationId="{4B034ABD-B979-8566-9DC8-D9A8FF5A5387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3" creationId="{8A432A11-57BE-C45F-AD71-B372889C4DB8}"/>
          </ac:spMkLst>
        </pc:spChg>
        <pc:grpChg chg="del">
          <ac:chgData name="vonWaldow, Ulrich" userId="c64b3fe1-2fbf-4408-adc4-30add62e991f" providerId="ADAL" clId="{B99A90B8-7D29-4456-AFD4-0F3DBA13A596}" dt="2024-09-03T12:05:24.226" v="110452" actId="165"/>
          <ac:grpSpMkLst>
            <pc:docMk/>
            <pc:sldMk cId="1018583278" sldId="921"/>
            <ac:grpSpMk id="24" creationId="{DD267055-5233-21E2-250C-439F6DFA8E45}"/>
          </ac:grpSpMkLst>
        </pc:gr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02843880" sldId="922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2843880" sldId="922"/>
            <ac:spMk id="3" creationId="{128E8971-299F-D29B-4E58-32C24F4464F2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367517902" sldId="923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367517902" sldId="923"/>
            <ac:spMk id="3" creationId="{D1652BA4-91C8-40B5-3B18-3A2A19A031D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9958752" sldId="9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9958752" sldId="925"/>
            <ac:spMk id="3" creationId="{9B2A75A1-2513-CFEE-F240-D632B8BD5B74}"/>
          </ac:spMkLst>
        </pc:spChg>
      </pc:sldChg>
      <pc:sldChg chg="addSp modSp mod">
        <pc:chgData name="vonWaldow, Ulrich" userId="c64b3fe1-2fbf-4408-adc4-30add62e991f" providerId="ADAL" clId="{B99A90B8-7D29-4456-AFD4-0F3DBA13A596}" dt="2024-08-28T07:44:04.887" v="105518"/>
        <pc:sldMkLst>
          <pc:docMk/>
          <pc:sldMk cId="2647470013" sldId="92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47470013" sldId="927"/>
            <ac:spMk id="3" creationId="{93A41F0D-79B4-2A07-06FC-011492FAB41E}"/>
          </ac:spMkLst>
        </pc:spChg>
        <pc:spChg chg="add mod">
          <ac:chgData name="vonWaldow, Ulrich" userId="c64b3fe1-2fbf-4408-adc4-30add62e991f" providerId="ADAL" clId="{B99A90B8-7D29-4456-AFD4-0F3DBA13A596}" dt="2024-08-27T13:47:36.338" v="105151" actId="20577"/>
          <ac:spMkLst>
            <pc:docMk/>
            <pc:sldMk cId="2647470013" sldId="927"/>
            <ac:spMk id="4" creationId="{27A59DB8-139D-5D70-7871-B6900932EB7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2908494" sldId="92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2908494" sldId="929"/>
            <ac:spMk id="3" creationId="{43BA1997-1999-701C-B2E7-D6F57C49CE6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81929555" sldId="93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81929555" sldId="931"/>
            <ac:spMk id="3" creationId="{EB7C34AB-96D4-D962-961B-419629D33686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081440669" sldId="934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81440669" sldId="934"/>
            <ac:spMk id="3" creationId="{FA9E8817-A2C1-FA95-D523-492C7484D2AD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769200534" sldId="934"/>
        </pc:sldMkLst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013950421" sldId="93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13950421" sldId="935"/>
            <ac:spMk id="3" creationId="{BA056679-B142-695E-3E57-6134BA1B4DE2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859432009" sldId="93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859432009" sldId="936"/>
            <ac:spMk id="3" creationId="{35D8D76F-BB95-2520-2169-24825EC7FEE2}"/>
          </ac:spMkLst>
        </pc:spChg>
      </pc:sldChg>
      <pc:sldChg chg="modSp mod">
        <pc:chgData name="vonWaldow, Ulrich" userId="c64b3fe1-2fbf-4408-adc4-30add62e991f" providerId="ADAL" clId="{B99A90B8-7D29-4456-AFD4-0F3DBA13A596}" dt="2024-09-03T12:08:10.296" v="111332" actId="20577"/>
        <pc:sldMkLst>
          <pc:docMk/>
          <pc:sldMk cId="1186050578" sldId="937"/>
        </pc:sldMkLst>
        <pc:spChg chg="mod">
          <ac:chgData name="vonWaldow, Ulrich" userId="c64b3fe1-2fbf-4408-adc4-30add62e991f" providerId="ADAL" clId="{B99A90B8-7D29-4456-AFD4-0F3DBA13A596}" dt="2024-09-03T12:08:10.296" v="111332" actId="20577"/>
          <ac:spMkLst>
            <pc:docMk/>
            <pc:sldMk cId="1186050578" sldId="937"/>
            <ac:spMk id="3" creationId="{B71C8B15-817C-03F9-43FC-68F07B9A85CF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786087461" sldId="93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786087461" sldId="939"/>
            <ac:spMk id="3" creationId="{5EB5FA38-2188-8FA0-C103-21B22A7757BB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958788711" sldId="939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110830919" sldId="941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696669888" sldId="941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144278374" sldId="94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4290603569" sldId="94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0505887" sldId="944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113532651" sldId="944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584785456" sldId="946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4164186936" sldId="946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943505207" sldId="948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478809197" sldId="948"/>
        </pc:sldMkLst>
      </pc:sldChg>
      <pc:sldChg chg="addSp modSp mod modShow">
        <pc:chgData name="vonWaldow, Ulrich" userId="c64b3fe1-2fbf-4408-adc4-30add62e991f" providerId="ADAL" clId="{B99A90B8-7D29-4456-AFD4-0F3DBA13A596}" dt="2024-08-28T08:03:32.770" v="105568" actId="729"/>
        <pc:sldMkLst>
          <pc:docMk/>
          <pc:sldMk cId="125622121" sldId="950"/>
        </pc:sldMkLst>
        <pc:spChg chg="add mod">
          <ac:chgData name="vonWaldow, Ulrich" userId="c64b3fe1-2fbf-4408-adc4-30add62e991f" providerId="ADAL" clId="{B99A90B8-7D29-4456-AFD4-0F3DBA13A596}" dt="2024-08-27T14:13:45.154" v="105503"/>
          <ac:spMkLst>
            <pc:docMk/>
            <pc:sldMk cId="125622121" sldId="950"/>
            <ac:spMk id="6" creationId="{F201F45B-3B56-27FE-8494-85654DB5138C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8:03:31.398" v="105567" actId="729"/>
        <pc:sldMkLst>
          <pc:docMk/>
          <pc:sldMk cId="2393603869" sldId="952"/>
        </pc:sldMkLst>
        <pc:spChg chg="add mod">
          <ac:chgData name="vonWaldow, Ulrich" userId="c64b3fe1-2fbf-4408-adc4-30add62e991f" providerId="ADAL" clId="{B99A90B8-7D29-4456-AFD4-0F3DBA13A596}" dt="2024-08-27T14:13:44.373" v="105502"/>
          <ac:spMkLst>
            <pc:docMk/>
            <pc:sldMk cId="2393603869" sldId="952"/>
            <ac:spMk id="3" creationId="{24AB424D-43B7-E694-9C9E-568550DC9BD8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8:30.763" v="111371"/>
        <pc:sldMkLst>
          <pc:docMk/>
          <pc:sldMk cId="2476421009" sldId="954"/>
        </pc:sldMkLst>
        <pc:spChg chg="mod">
          <ac:chgData name="vonWaldow, Ulrich" userId="c64b3fe1-2fbf-4408-adc4-30add62e991f" providerId="ADAL" clId="{B99A90B8-7D29-4456-AFD4-0F3DBA13A596}" dt="2024-09-03T12:08:30.705" v="111335" actId="948"/>
          <ac:spMkLst>
            <pc:docMk/>
            <pc:sldMk cId="2476421009" sldId="954"/>
            <ac:spMk id="2" creationId="{26EE05F0-F071-F7E3-B112-B4A97AD8A4A2}"/>
          </ac:spMkLst>
        </pc:spChg>
        <pc:spChg chg="mod">
          <ac:chgData name="vonWaldow, Ulrich" userId="c64b3fe1-2fbf-4408-adc4-30add62e991f" providerId="ADAL" clId="{B99A90B8-7D29-4456-AFD4-0F3DBA13A596}" dt="2024-09-03T12:08:28.787" v="111333" actId="21"/>
          <ac:spMkLst>
            <pc:docMk/>
            <pc:sldMk cId="2476421009" sldId="954"/>
            <ac:spMk id="3" creationId="{AAECA2BA-0F81-DB6F-BAF2-3505BCFA16D3}"/>
          </ac:spMkLst>
        </pc:spChg>
        <pc:spChg chg="add del mod modVis">
          <ac:chgData name="vonWaldow, Ulrich" userId="c64b3fe1-2fbf-4408-adc4-30add62e991f" providerId="ADAL" clId="{B99A90B8-7D29-4456-AFD4-0F3DBA13A596}" dt="2024-09-03T12:08:30.726" v="111356"/>
          <ac:spMkLst>
            <pc:docMk/>
            <pc:sldMk cId="2476421009" sldId="954"/>
            <ac:spMk id="5" creationId="{9202E8D4-E230-3B69-C205-5CCB1E0CA1F7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8:30.763" v="111371"/>
          <ac:graphicFrameMkLst>
            <pc:docMk/>
            <pc:sldMk cId="2476421009" sldId="954"/>
            <ac:graphicFrameMk id="59" creationId="{7DB5FB59-35E1-94B5-AF0A-20462F897E8D}"/>
          </ac:graphicFrameMkLst>
        </pc:graphicFrame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318693132" sldId="956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2669735213" sldId="95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69735213" sldId="956"/>
            <ac:spMk id="3" creationId="{FC8AF9CC-9F61-84BD-1824-EF909A727C3F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11:07.714" v="111615"/>
        <pc:sldMkLst>
          <pc:docMk/>
          <pc:sldMk cId="257744969" sldId="957"/>
        </pc:sldMkLst>
        <pc:spChg chg="mod ord">
          <ac:chgData name="vonWaldow, Ulrich" userId="c64b3fe1-2fbf-4408-adc4-30add62e991f" providerId="ADAL" clId="{B99A90B8-7D29-4456-AFD4-0F3DBA13A596}" dt="2024-09-03T12:11:07.693" v="111592" actId="948"/>
          <ac:spMkLst>
            <pc:docMk/>
            <pc:sldMk cId="257744969" sldId="957"/>
            <ac:spMk id="2" creationId="{C3B075E3-3512-34B1-5A79-93EE0B2719AD}"/>
          </ac:spMkLst>
        </pc:spChg>
        <pc:spChg chg="mod ord">
          <ac:chgData name="vonWaldow, Ulrich" userId="c64b3fe1-2fbf-4408-adc4-30add62e991f" providerId="ADAL" clId="{B99A90B8-7D29-4456-AFD4-0F3DBA13A596}" dt="2024-09-03T12:11:07.164" v="111591" actId="700"/>
          <ac:spMkLst>
            <pc:docMk/>
            <pc:sldMk cId="257744969" sldId="957"/>
            <ac:spMk id="3" creationId="{2320DF76-6ACE-ADCA-CED2-C5A7D673A046}"/>
          </ac:spMkLst>
        </pc:spChg>
        <pc:spChg chg="add del mod modVis">
          <ac:chgData name="vonWaldow, Ulrich" userId="c64b3fe1-2fbf-4408-adc4-30add62e991f" providerId="ADAL" clId="{B99A90B8-7D29-4456-AFD4-0F3DBA13A596}" dt="2024-09-03T12:10:40.675" v="111400"/>
          <ac:spMkLst>
            <pc:docMk/>
            <pc:sldMk cId="257744969" sldId="957"/>
            <ac:spMk id="4" creationId="{77347871-D8C8-ACD1-AB3C-FBA2B498189C}"/>
          </ac:spMkLst>
        </pc:spChg>
        <pc:spChg chg="add del mod modVis">
          <ac:chgData name="vonWaldow, Ulrich" userId="c64b3fe1-2fbf-4408-adc4-30add62e991f" providerId="ADAL" clId="{B99A90B8-7D29-4456-AFD4-0F3DBA13A596}" dt="2024-09-03T12:10:50.180" v="111500" actId="962"/>
          <ac:spMkLst>
            <pc:docMk/>
            <pc:sldMk cId="257744969" sldId="957"/>
            <ac:spMk id="5" creationId="{0B4084A9-B76B-9FE0-7B76-719686A0AD7F}"/>
          </ac:spMkLst>
        </pc:spChg>
        <pc:spChg chg="add del mod modVis">
          <ac:chgData name="vonWaldow, Ulrich" userId="c64b3fe1-2fbf-4408-adc4-30add62e991f" providerId="ADAL" clId="{B99A90B8-7D29-4456-AFD4-0F3DBA13A596}" dt="2024-09-03T12:10:49.977" v="111475" actId="962"/>
          <ac:spMkLst>
            <pc:docMk/>
            <pc:sldMk cId="257744969" sldId="957"/>
            <ac:spMk id="6" creationId="{EC95C741-0C47-AFF0-D5B1-EDE65FEBE189}"/>
          </ac:spMkLst>
        </pc:spChg>
        <pc:spChg chg="add del mod modVis">
          <ac:chgData name="vonWaldow, Ulrich" userId="c64b3fe1-2fbf-4408-adc4-30add62e991f" providerId="ADAL" clId="{B99A90B8-7D29-4456-AFD4-0F3DBA13A596}" dt="2024-09-03T12:10:55.201" v="111527"/>
          <ac:spMkLst>
            <pc:docMk/>
            <pc:sldMk cId="257744969" sldId="957"/>
            <ac:spMk id="7" creationId="{CFE3B27D-B2D5-2B4F-A5F6-BCE4103A0A9C}"/>
          </ac:spMkLst>
        </pc:spChg>
        <pc:spChg chg="add del mod modVis">
          <ac:chgData name="vonWaldow, Ulrich" userId="c64b3fe1-2fbf-4408-adc4-30add62e991f" providerId="ADAL" clId="{B99A90B8-7D29-4456-AFD4-0F3DBA13A596}" dt="2024-09-03T12:10:56.412" v="111556"/>
          <ac:spMkLst>
            <pc:docMk/>
            <pc:sldMk cId="257744969" sldId="957"/>
            <ac:spMk id="8" creationId="{A3136F76-D97A-700A-0FCB-B41E6716AA46}"/>
          </ac:spMkLst>
        </pc:spChg>
        <pc:spChg chg="add del mod modVis">
          <ac:chgData name="vonWaldow, Ulrich" userId="c64b3fe1-2fbf-4408-adc4-30add62e991f" providerId="ADAL" clId="{B99A90B8-7D29-4456-AFD4-0F3DBA13A596}" dt="2024-09-03T12:10:59.147" v="111582"/>
          <ac:spMkLst>
            <pc:docMk/>
            <pc:sldMk cId="257744969" sldId="957"/>
            <ac:spMk id="9" creationId="{DFD70C32-0568-46F0-8355-93F7A6A39C56}"/>
          </ac:spMkLst>
        </pc:spChg>
        <pc:spChg chg="add del mod modVis">
          <ac:chgData name="vonWaldow, Ulrich" userId="c64b3fe1-2fbf-4408-adc4-30add62e991f" providerId="ADAL" clId="{B99A90B8-7D29-4456-AFD4-0F3DBA13A596}" dt="2024-09-03T12:11:07.712" v="111613"/>
          <ac:spMkLst>
            <pc:docMk/>
            <pc:sldMk cId="257744969" sldId="957"/>
            <ac:spMk id="10" creationId="{CF8980DE-32EB-9D6E-D6DE-67DFC8B73D80}"/>
          </ac:spMkLst>
        </pc:spChg>
        <pc:graphicFrameChg chg="mod">
          <ac:chgData name="vonWaldow, Ulrich" userId="c64b3fe1-2fbf-4408-adc4-30add62e991f" providerId="ADAL" clId="{B99A90B8-7D29-4456-AFD4-0F3DBA13A596}" dt="2024-09-03T12:11:07.714" v="111615"/>
          <ac:graphicFrameMkLst>
            <pc:docMk/>
            <pc:sldMk cId="257744969" sldId="957"/>
            <ac:graphicFrameMk id="41" creationId="{37B35DBC-5D21-FACD-FFAE-EA9D371991FC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655310532" sldId="95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55310532" sldId="958"/>
            <ac:spMk id="3" creationId="{BA7E501B-61F3-BC23-7209-23CCF74D1701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841715912" sldId="95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841715912" sldId="959"/>
            <ac:spMk id="3" creationId="{C413F36C-99EB-B979-6FED-B0179FA5268B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012652403" sldId="959"/>
        </pc:sldMkLst>
      </pc:sldChg>
      <pc:sldChg chg="modSp mod">
        <pc:chgData name="vonWaldow, Ulrich" userId="c64b3fe1-2fbf-4408-adc4-30add62e991f" providerId="ADAL" clId="{B99A90B8-7D29-4456-AFD4-0F3DBA13A596}" dt="2024-09-03T12:09:45.198" v="111376" actId="20577"/>
        <pc:sldMkLst>
          <pc:docMk/>
          <pc:sldMk cId="2246969367" sldId="960"/>
        </pc:sldMkLst>
        <pc:spChg chg="mod">
          <ac:chgData name="vonWaldow, Ulrich" userId="c64b3fe1-2fbf-4408-adc4-30add62e991f" providerId="ADAL" clId="{B99A90B8-7D29-4456-AFD4-0F3DBA13A596}" dt="2024-09-03T12:09:45.198" v="111376" actId="20577"/>
          <ac:spMkLst>
            <pc:docMk/>
            <pc:sldMk cId="2246969367" sldId="960"/>
            <ac:spMk id="3" creationId="{78001DB9-FE91-ECB9-94B2-47E88AFFDB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246969367" sldId="960"/>
            <ac:spMk id="35" creationId="{BFD49F0F-DEDF-3BB4-96F2-C07FFB27C089}"/>
          </ac:spMkLst>
        </pc:spChg>
      </pc:sldChg>
      <pc:sldChg chg="modSp mod">
        <pc:chgData name="vonWaldow, Ulrich" userId="c64b3fe1-2fbf-4408-adc4-30add62e991f" providerId="ADAL" clId="{B99A90B8-7D29-4456-AFD4-0F3DBA13A596}" dt="2024-09-03T12:09:40.532" v="111375" actId="20577"/>
        <pc:sldMkLst>
          <pc:docMk/>
          <pc:sldMk cId="1546796327" sldId="961"/>
        </pc:sldMkLst>
        <pc:spChg chg="mod">
          <ac:chgData name="vonWaldow, Ulrich" userId="c64b3fe1-2fbf-4408-adc4-30add62e991f" providerId="ADAL" clId="{B99A90B8-7D29-4456-AFD4-0F3DBA13A596}" dt="2024-09-03T12:09:40.532" v="111375" actId="20577"/>
          <ac:spMkLst>
            <pc:docMk/>
            <pc:sldMk cId="1546796327" sldId="961"/>
            <ac:spMk id="3" creationId="{E4D13D15-245B-481D-A2D4-D227DF7C3C7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46796327" sldId="961"/>
            <ac:spMk id="191" creationId="{9969BE9C-F660-C068-1CD5-EB79B7FE925E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01482591" sldId="96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01482591" sldId="962"/>
            <ac:spMk id="71" creationId="{D3751744-2DEB-E023-00E7-7DB215D6E754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87539531" sldId="967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114222560" sldId="9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14222560" sldId="967"/>
            <ac:spMk id="3" creationId="{9315B978-095E-B788-735D-2F37C50C9712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075336552" sldId="96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5336552" sldId="968"/>
            <ac:spMk id="3" creationId="{53A51865-1AF0-D7DC-76AD-3D2B0C2F313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91197081" sldId="96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91197081" sldId="969"/>
            <ac:spMk id="3" creationId="{30C6D670-9ED3-6A53-6440-51A87925DB66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182221571" sldId="97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82221571" sldId="971"/>
            <ac:spMk id="3" creationId="{398DA19C-9672-0729-E868-F90FF88E4A38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924816828" sldId="971"/>
        </pc:sldMkLst>
      </pc:sldChg>
      <pc:sldChg chg="modSp mod">
        <pc:chgData name="vonWaldow, Ulrich" userId="c64b3fe1-2fbf-4408-adc4-30add62e991f" providerId="ADAL" clId="{B99A90B8-7D29-4456-AFD4-0F3DBA13A596}" dt="2024-09-03T12:09:12.103" v="111374" actId="20577"/>
        <pc:sldMkLst>
          <pc:docMk/>
          <pc:sldMk cId="1226817390" sldId="972"/>
        </pc:sldMkLst>
        <pc:spChg chg="mod">
          <ac:chgData name="vonWaldow, Ulrich" userId="c64b3fe1-2fbf-4408-adc4-30add62e991f" providerId="ADAL" clId="{B99A90B8-7D29-4456-AFD4-0F3DBA13A596}" dt="2024-09-03T12:09:12.103" v="111374" actId="20577"/>
          <ac:spMkLst>
            <pc:docMk/>
            <pc:sldMk cId="1226817390" sldId="972"/>
            <ac:spMk id="3" creationId="{37E93E59-57D3-B031-A1A4-4A13CB8065C2}"/>
          </ac:spMkLst>
        </pc:spChg>
      </pc:sldChg>
      <pc:sldChg chg="modSp mod">
        <pc:chgData name="vonWaldow, Ulrich" userId="c64b3fe1-2fbf-4408-adc4-30add62e991f" providerId="ADAL" clId="{B99A90B8-7D29-4456-AFD4-0F3DBA13A596}" dt="2024-09-03T12:09:06.101" v="111373" actId="14100"/>
        <pc:sldMkLst>
          <pc:docMk/>
          <pc:sldMk cId="1974482486" sldId="973"/>
        </pc:sldMkLst>
        <pc:spChg chg="mod">
          <ac:chgData name="vonWaldow, Ulrich" userId="c64b3fe1-2fbf-4408-adc4-30add62e991f" providerId="ADAL" clId="{B99A90B8-7D29-4456-AFD4-0F3DBA13A596}" dt="2024-08-27T14:13:06.819" v="105499" actId="20577"/>
          <ac:spMkLst>
            <pc:docMk/>
            <pc:sldMk cId="1974482486" sldId="973"/>
            <ac:spMk id="3" creationId="{1070E468-A1D5-63D7-912A-E820505B1D1F}"/>
          </ac:spMkLst>
        </pc:spChg>
        <pc:spChg chg="mod">
          <ac:chgData name="vonWaldow, Ulrich" userId="c64b3fe1-2fbf-4408-adc4-30add62e991f" providerId="ADAL" clId="{B99A90B8-7D29-4456-AFD4-0F3DBA13A596}" dt="2024-09-03T12:09:06.101" v="111373" actId="14100"/>
          <ac:spMkLst>
            <pc:docMk/>
            <pc:sldMk cId="1974482486" sldId="973"/>
            <ac:spMk id="7" creationId="{BAEA268D-3B10-56F9-94E6-BCC35FA54A69}"/>
          </ac:spMkLst>
        </pc:s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2347365697" sldId="974"/>
        </pc:sldMkLst>
        <pc:spChg chg="mod">
          <ac:chgData name="vonWaldow, Ulrich" userId="c64b3fe1-2fbf-4408-adc4-30add62e991f" providerId="ADAL" clId="{B99A90B8-7D29-4456-AFD4-0F3DBA13A596}" dt="2024-08-27T14:12:58.116" v="105498" actId="20577"/>
          <ac:spMkLst>
            <pc:docMk/>
            <pc:sldMk cId="2347365697" sldId="974"/>
            <ac:spMk id="3" creationId="{12DA0311-F321-1753-CC64-93000F48FE8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47365697" sldId="974"/>
            <ac:spMk id="13" creationId="{8681DE71-F355-C86E-0184-BDD66561AB01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675837346" sldId="976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675837346" sldId="976"/>
            <ac:spMk id="3" creationId="{2A5B1E58-F7D0-1BDE-D68B-A63859C59F2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28599537" sldId="97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28599537" sldId="978"/>
            <ac:spMk id="16" creationId="{8EC7E49C-55BD-C309-8030-D6824119327F}"/>
          </ac:spMkLst>
        </pc:spChg>
      </pc:sldChg>
      <pc:sldChg chg="modSp mod">
        <pc:chgData name="vonWaldow, Ulrich" userId="c64b3fe1-2fbf-4408-adc4-30add62e991f" providerId="ADAL" clId="{B99A90B8-7D29-4456-AFD4-0F3DBA13A596}" dt="2024-09-03T12:07:00.223" v="111247" actId="6549"/>
        <pc:sldMkLst>
          <pc:docMk/>
          <pc:sldMk cId="2912661293" sldId="984"/>
        </pc:sldMkLst>
        <pc:spChg chg="mod">
          <ac:chgData name="vonWaldow, Ulrich" userId="c64b3fe1-2fbf-4408-adc4-30add62e991f" providerId="ADAL" clId="{B99A90B8-7D29-4456-AFD4-0F3DBA13A596}" dt="2024-09-03T12:07:00.223" v="111247" actId="6549"/>
          <ac:spMkLst>
            <pc:docMk/>
            <pc:sldMk cId="2912661293" sldId="984"/>
            <ac:spMk id="3" creationId="{95E5AFEC-1AE8-C7ED-912A-58F22E7C00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12661293" sldId="984"/>
            <ac:spMk id="18" creationId="{62B8F9BC-89AF-F265-645E-9D7089B1A8DB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366663952" sldId="98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366663952" sldId="985"/>
            <ac:spMk id="3" creationId="{6AE81766-89FD-5610-F41A-24A5FCE17E62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227945462" sldId="988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27" creationId="{31111F11-8373-81CA-2E2A-ADE99757BE84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28" creationId="{99853AB4-8534-E12D-8370-BB071B7E65B0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32" creationId="{9CE4F841-C4B6-64BA-4232-9A2B2BB6F0B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19502414" sldId="98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0" creationId="{9A208BC1-27A5-C602-E602-188B66FDB1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1" creationId="{C5FAC4DA-CEFB-D046-E2D5-FEF1364A8D2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2" creationId="{130210BA-81A4-D150-F4F4-99AF5DBA509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5" creationId="{CDF4AAAC-1B34-B7FF-C6D6-204FE7F41A6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6" creationId="{81536291-0B94-3860-55BA-9B43F693434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7" creationId="{93E0F823-9C1E-ED70-57E0-82677ABBCE2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8" creationId="{1DE0D3D9-B561-D012-6E21-CC862AF8714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9" creationId="{429DF14E-BC26-2D28-DABC-3C89F50A955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30" creationId="{3EF8CA3E-9BAC-8978-309C-6A0FE89F24DB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219502414" sldId="989"/>
            <ac:grpSpMk id="19" creationId="{A987F575-CD61-DB8E-B10A-698C0E09FF07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219502414" sldId="989"/>
            <ac:grpSpMk id="31" creationId="{E91BA467-5510-0CB6-41B1-327A047DC6C8}"/>
          </ac:grpSpMkLst>
        </pc:grpChg>
        <pc:cxnChg chg="mod">
          <ac:chgData name="vonWaldow, Ulrich" userId="c64b3fe1-2fbf-4408-adc4-30add62e991f" providerId="ADAL" clId="{B99A90B8-7D29-4456-AFD4-0F3DBA13A596}" dt="2024-08-28T07:44:04.887" v="105518"/>
          <ac:cxnSpMkLst>
            <pc:docMk/>
            <pc:sldMk cId="3219502414" sldId="989"/>
            <ac:cxnSpMk id="23" creationId="{2EEC0BE3-9FBF-A6D3-0DEE-487A3B5C9918}"/>
          </ac:cxnSpMkLst>
        </pc:cxnChg>
        <pc:cxnChg chg="mod">
          <ac:chgData name="vonWaldow, Ulrich" userId="c64b3fe1-2fbf-4408-adc4-30add62e991f" providerId="ADAL" clId="{B99A90B8-7D29-4456-AFD4-0F3DBA13A596}" dt="2024-08-28T07:44:04.887" v="105518"/>
          <ac:cxnSpMkLst>
            <pc:docMk/>
            <pc:sldMk cId="3219502414" sldId="989"/>
            <ac:cxnSpMk id="24" creationId="{4E393DB1-3536-BDE0-DDE8-62D6DD529B1E}"/>
          </ac:cxnSpMkLst>
        </pc:cxnChg>
      </pc:sldChg>
      <pc:sldChg chg="addSp modSp mod">
        <pc:chgData name="vonWaldow, Ulrich" userId="c64b3fe1-2fbf-4408-adc4-30add62e991f" providerId="ADAL" clId="{B99A90B8-7D29-4456-AFD4-0F3DBA13A596}" dt="2024-09-03T12:15:41.675" v="111811" actId="1076"/>
        <pc:sldMkLst>
          <pc:docMk/>
          <pc:sldMk cId="220278907" sldId="992"/>
        </pc:sldMkLst>
        <pc:spChg chg="add mod">
          <ac:chgData name="vonWaldow, Ulrich" userId="c64b3fe1-2fbf-4408-adc4-30add62e991f" providerId="ADAL" clId="{B99A90B8-7D29-4456-AFD4-0F3DBA13A596}" dt="2024-09-03T12:15:41.675" v="111811" actId="1076"/>
          <ac:spMkLst>
            <pc:docMk/>
            <pc:sldMk cId="220278907" sldId="992"/>
            <ac:spMk id="3" creationId="{B8AF82E9-C43B-C8C4-BFFB-769371790584}"/>
          </ac:spMkLst>
        </pc:spChg>
        <pc:spChg chg="mod">
          <ac:chgData name="vonWaldow, Ulrich" userId="c64b3fe1-2fbf-4408-adc4-30add62e991f" providerId="ADAL" clId="{B99A90B8-7D29-4456-AFD4-0F3DBA13A596}" dt="2024-09-03T12:15:29.483" v="111804" actId="14100"/>
          <ac:spMkLst>
            <pc:docMk/>
            <pc:sldMk cId="220278907" sldId="992"/>
            <ac:spMk id="34" creationId="{4C7EBE77-DDAE-0957-BE3F-647D87D25F2A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17:06.242" v="111993" actId="6549"/>
        <pc:sldMkLst>
          <pc:docMk/>
          <pc:sldMk cId="287014116" sldId="993"/>
        </pc:sldMkLst>
        <pc:spChg chg="mod ord">
          <ac:chgData name="vonWaldow, Ulrich" userId="c64b3fe1-2fbf-4408-adc4-30add62e991f" providerId="ADAL" clId="{B99A90B8-7D29-4456-AFD4-0F3DBA13A596}" dt="2024-09-03T12:16:19.259" v="111952" actId="948"/>
          <ac:spMkLst>
            <pc:docMk/>
            <pc:sldMk cId="287014116" sldId="993"/>
            <ac:spMk id="2" creationId="{6F25DF02-C970-A475-31FC-31E3A9CDCA87}"/>
          </ac:spMkLst>
        </pc:spChg>
        <pc:spChg chg="add del mod modVis">
          <ac:chgData name="vonWaldow, Ulrich" userId="c64b3fe1-2fbf-4408-adc4-30add62e991f" providerId="ADAL" clId="{B99A90B8-7D29-4456-AFD4-0F3DBA13A596}" dt="2024-09-03T12:16:11.198" v="111923"/>
          <ac:spMkLst>
            <pc:docMk/>
            <pc:sldMk cId="287014116" sldId="993"/>
            <ac:spMk id="3" creationId="{9552FEDD-DF64-7820-E41A-D5A34618CA53}"/>
          </ac:spMkLst>
        </pc:spChg>
        <pc:spChg chg="add del mod modVis">
          <ac:chgData name="vonWaldow, Ulrich" userId="c64b3fe1-2fbf-4408-adc4-30add62e991f" providerId="ADAL" clId="{B99A90B8-7D29-4456-AFD4-0F3DBA13A596}" dt="2024-09-03T12:16:12.179" v="111948"/>
          <ac:spMkLst>
            <pc:docMk/>
            <pc:sldMk cId="287014116" sldId="993"/>
            <ac:spMk id="4" creationId="{A393FF24-7F4D-A022-030F-9EC8724944D0}"/>
          </ac:spMkLst>
        </pc:spChg>
        <pc:spChg chg="add mod ord">
          <ac:chgData name="vonWaldow, Ulrich" userId="c64b3fe1-2fbf-4408-adc4-30add62e991f" providerId="ADAL" clId="{B99A90B8-7D29-4456-AFD4-0F3DBA13A596}" dt="2024-09-03T12:17:06.242" v="111993" actId="6549"/>
          <ac:spMkLst>
            <pc:docMk/>
            <pc:sldMk cId="287014116" sldId="993"/>
            <ac:spMk id="5" creationId="{A0066F4D-B1E8-BA9D-3E41-68962A4B89B5}"/>
          </ac:spMkLst>
        </pc:spChg>
        <pc:spChg chg="add del mod modVis">
          <ac:chgData name="vonWaldow, Ulrich" userId="c64b3fe1-2fbf-4408-adc4-30add62e991f" providerId="ADAL" clId="{B99A90B8-7D29-4456-AFD4-0F3DBA13A596}" dt="2024-09-03T12:16:19.290" v="111973"/>
          <ac:spMkLst>
            <pc:docMk/>
            <pc:sldMk cId="287014116" sldId="993"/>
            <ac:spMk id="6" creationId="{C246E262-364A-7EA4-6AC9-DDF4462BCFAF}"/>
          </ac:spMkLst>
        </pc:spChg>
        <pc:spChg chg="add mod">
          <ac:chgData name="vonWaldow, Ulrich" userId="c64b3fe1-2fbf-4408-adc4-30add62e991f" providerId="ADAL" clId="{B99A90B8-7D29-4456-AFD4-0F3DBA13A596}" dt="2024-09-03T12:16:31.073" v="111982"/>
          <ac:spMkLst>
            <pc:docMk/>
            <pc:sldMk cId="287014116" sldId="993"/>
            <ac:spMk id="7" creationId="{FDA19E23-4687-8681-1212-4F9E01F82298}"/>
          </ac:spMkLst>
        </pc:spChg>
        <pc:spChg chg="add mod">
          <ac:chgData name="vonWaldow, Ulrich" userId="c64b3fe1-2fbf-4408-adc4-30add62e991f" providerId="ADAL" clId="{B99A90B8-7D29-4456-AFD4-0F3DBA13A596}" dt="2024-09-03T12:16:59.081" v="111992"/>
          <ac:spMkLst>
            <pc:docMk/>
            <pc:sldMk cId="287014116" sldId="993"/>
            <ac:spMk id="8" creationId="{80C0837E-B547-4789-6EA2-421FC13DB5C4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6" creationId="{141CF2C3-8D46-DA7A-04A3-82FD03714F2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7" creationId="{0D1CACDF-70B2-E19C-4618-80868B4A60B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8" creationId="{78BF1FE3-909E-3301-B298-8455100F937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9" creationId="{6BD47D88-27E7-66E1-CD6F-98D78DD4408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0" creationId="{B73E72A0-1A7C-E147-85EF-3486623D2B2C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1" creationId="{3AAF6916-E164-0D16-C963-CFDB6027FDE9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2" creationId="{25945B36-1414-0563-1BBF-3376D1D4FEC5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3" creationId="{5C9CB636-458C-1BC4-D683-FAC7A32AA492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4" creationId="{07801456-E82A-2530-1DCB-C4847E84E8AA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5" creationId="{5AE83ECF-D497-C107-AB1B-84ACBBD46CB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6" creationId="{6C461D65-314E-3F95-0C19-0721548D9EE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7" creationId="{0DC4E826-1B6C-0CD6-AFF0-F0F9507D182B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8" creationId="{8484EDEA-1DA8-C209-E162-26FA056A66DD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9" creationId="{1E3F0F2B-1E0E-A365-F144-EDACA540A4F6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40" creationId="{B3E41B7E-E65F-15B2-7372-1DB71B614F93}"/>
          </ac:spMkLst>
        </pc:spChg>
        <pc:spChg chg="del mod">
          <ac:chgData name="vonWaldow, Ulrich" userId="c64b3fe1-2fbf-4408-adc4-30add62e991f" providerId="ADAL" clId="{B99A90B8-7D29-4456-AFD4-0F3DBA13A596}" dt="2024-09-03T12:16:56.972" v="111991" actId="478"/>
          <ac:spMkLst>
            <pc:docMk/>
            <pc:sldMk cId="287014116" sldId="993"/>
            <ac:spMk id="53" creationId="{D8DDCA8F-BCB2-F835-A2BA-8061FADFC77F}"/>
          </ac:spMkLst>
        </pc:spChg>
        <pc:grpChg chg="mod">
          <ac:chgData name="vonWaldow, Ulrich" userId="c64b3fe1-2fbf-4408-adc4-30add62e991f" providerId="ADAL" clId="{B99A90B8-7D29-4456-AFD4-0F3DBA13A596}" dt="2024-09-03T12:16:24.672" v="111981" actId="1076"/>
          <ac:grpSpMkLst>
            <pc:docMk/>
            <pc:sldMk cId="287014116" sldId="993"/>
            <ac:grpSpMk id="25" creationId="{193F5356-61CB-A5AC-F7D7-E7D3ECDE360C}"/>
          </ac:grpSpMkLst>
        </pc:grpChg>
        <pc:graphicFrameChg chg="mod">
          <ac:chgData name="vonWaldow, Ulrich" userId="c64b3fe1-2fbf-4408-adc4-30add62e991f" providerId="ADAL" clId="{B99A90B8-7D29-4456-AFD4-0F3DBA13A596}" dt="2024-09-03T12:16:19.294" v="111975"/>
          <ac:graphicFrameMkLst>
            <pc:docMk/>
            <pc:sldMk cId="287014116" sldId="993"/>
            <ac:graphicFrameMk id="46" creationId="{32564905-4C47-FBE4-9527-F5FF47D6E644}"/>
          </ac:graphicFrameMkLst>
        </pc:graphicFrame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1" creationId="{688E2BBC-EDE2-29AA-DDF3-A2BE534D1706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2" creationId="{A70618B3-51E4-5938-AA8D-BB9F6D20E596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3" creationId="{F85DF5D5-0CB4-62A6-C2D6-70F2C41E6C81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4" creationId="{23C49C79-18D9-6FA0-1CCF-9B7391DB658B}"/>
          </ac:cxnSpMkLst>
        </pc:cxnChg>
      </pc:sldChg>
      <pc:sldChg chg="addSp delSp modSp mod modClrScheme chgLayout">
        <pc:chgData name="vonWaldow, Ulrich" userId="c64b3fe1-2fbf-4408-adc4-30add62e991f" providerId="ADAL" clId="{B99A90B8-7D29-4456-AFD4-0F3DBA13A596}" dt="2024-09-03T12:17:17.480" v="112005" actId="20577"/>
        <pc:sldMkLst>
          <pc:docMk/>
          <pc:sldMk cId="868591428" sldId="994"/>
        </pc:sldMkLst>
        <pc:spChg chg="mod ord">
          <ac:chgData name="vonWaldow, Ulrich" userId="c64b3fe1-2fbf-4408-adc4-30add62e991f" providerId="ADAL" clId="{B99A90B8-7D29-4456-AFD4-0F3DBA13A596}" dt="2024-09-03T12:16:02.585" v="111867" actId="948"/>
          <ac:spMkLst>
            <pc:docMk/>
            <pc:sldMk cId="868591428" sldId="994"/>
            <ac:spMk id="2" creationId="{3764AAB1-6930-3873-CD05-AA0B8190D6E7}"/>
          </ac:spMkLst>
        </pc:spChg>
        <pc:spChg chg="add del mod modVis">
          <ac:chgData name="vonWaldow, Ulrich" userId="c64b3fe1-2fbf-4408-adc4-30add62e991f" providerId="ADAL" clId="{B99A90B8-7D29-4456-AFD4-0F3DBA13A596}" dt="2024-09-03T12:15:58.069" v="111838"/>
          <ac:spMkLst>
            <pc:docMk/>
            <pc:sldMk cId="868591428" sldId="994"/>
            <ac:spMk id="3" creationId="{B66E2E47-8AD3-1314-7720-E9A532B7713F}"/>
          </ac:spMkLst>
        </pc:spChg>
        <pc:spChg chg="add del mod modVis">
          <ac:chgData name="vonWaldow, Ulrich" userId="c64b3fe1-2fbf-4408-adc4-30add62e991f" providerId="ADAL" clId="{B99A90B8-7D29-4456-AFD4-0F3DBA13A596}" dt="2024-09-03T12:15:59.197" v="111863"/>
          <ac:spMkLst>
            <pc:docMk/>
            <pc:sldMk cId="868591428" sldId="994"/>
            <ac:spMk id="4" creationId="{439F411F-045F-C1FB-6C96-3F525B38EA6E}"/>
          </ac:spMkLst>
        </pc:spChg>
        <pc:spChg chg="add mod ord">
          <ac:chgData name="vonWaldow, Ulrich" userId="c64b3fe1-2fbf-4408-adc4-30add62e991f" providerId="ADAL" clId="{B99A90B8-7D29-4456-AFD4-0F3DBA13A596}" dt="2024-09-03T12:16:04.823" v="111896"/>
          <ac:spMkLst>
            <pc:docMk/>
            <pc:sldMk cId="868591428" sldId="994"/>
            <ac:spMk id="5" creationId="{9F1EC60B-F6CD-FF54-085E-4F703FA0BA57}"/>
          </ac:spMkLst>
        </pc:spChg>
        <pc:spChg chg="add del mod modVis">
          <ac:chgData name="vonWaldow, Ulrich" userId="c64b3fe1-2fbf-4408-adc4-30add62e991f" providerId="ADAL" clId="{B99A90B8-7D29-4456-AFD4-0F3DBA13A596}" dt="2024-09-03T12:16:02.607" v="111888"/>
          <ac:spMkLst>
            <pc:docMk/>
            <pc:sldMk cId="868591428" sldId="994"/>
            <ac:spMk id="6" creationId="{CA237E4B-5F4A-C357-8C39-BDD61562D94D}"/>
          </ac:spMkLst>
        </pc:spChg>
        <pc:spChg chg="mod">
          <ac:chgData name="vonWaldow, Ulrich" userId="c64b3fe1-2fbf-4408-adc4-30add62e991f" providerId="ADAL" clId="{B99A90B8-7D29-4456-AFD4-0F3DBA13A596}" dt="2024-09-03T12:17:17.480" v="112005" actId="20577"/>
          <ac:spMkLst>
            <pc:docMk/>
            <pc:sldMk cId="868591428" sldId="994"/>
            <ac:spMk id="18" creationId="{FECD40C6-781E-99B5-2A8B-1E701A887E07}"/>
          </ac:spMkLst>
        </pc:spChg>
        <pc:graphicFrameChg chg="mod">
          <ac:chgData name="vonWaldow, Ulrich" userId="c64b3fe1-2fbf-4408-adc4-30add62e991f" providerId="ADAL" clId="{B99A90B8-7D29-4456-AFD4-0F3DBA13A596}" dt="2024-09-03T12:16:02.610" v="111890"/>
          <ac:graphicFrameMkLst>
            <pc:docMk/>
            <pc:sldMk cId="868591428" sldId="994"/>
            <ac:graphicFrameMk id="22" creationId="{975B5E32-3A4A-E96C-C064-60B4BC859CC2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6603025" sldId="99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603025" sldId="995"/>
            <ac:spMk id="4" creationId="{FDEB6AD5-E617-0228-CCEE-A2ECCFF1E739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600510049" sldId="101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600510049" sldId="1015"/>
            <ac:spMk id="3" creationId="{4B899225-8D70-45AD-9A56-B7F92BD1B3B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5" creationId="{40BD9255-0DC4-6F87-C308-F5B3788D9A5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7" creationId="{CC55254F-9543-7A8C-36D7-4CC886F00E5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8" creationId="{54E94D02-BFE5-419E-FC87-99EFC5D798E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9" creationId="{970741AE-F571-8620-E0E6-7644D9BE581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0" creationId="{A2B18C5C-7678-8FDB-4D3E-597940B48A8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1" creationId="{3FD1EDAC-9043-1693-B10C-AB3E88682B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2" creationId="{A95EF2DB-2F09-1740-E46C-1448C958609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3" creationId="{2449ADC9-F74C-0417-2C18-0AFAEED2EC6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4" creationId="{1EBD3334-0330-65AD-36E2-A3287D31BA5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5" creationId="{C9FF224D-F336-5209-6426-F20DB86DEDA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6" creationId="{BF71B862-AE09-F9E1-D177-6111BC6C8CE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7" creationId="{BF5FE450-D130-7C6C-D4DD-9362A789A96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8" creationId="{0A02CBAC-70CF-35F1-EA69-E2975A4BA9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9" creationId="{01BA9E9E-5144-57B5-CF3A-B4F06C7C920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0" creationId="{3BC103AE-785B-F9C7-E469-95937CEE141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1" creationId="{6C94C5C4-8211-D12B-E520-522C98100EA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2" creationId="{2501047C-C3A4-65BC-B3A9-0B1AD0D95E1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3" creationId="{B408F103-6DCE-2C7F-7E33-9868AAD126F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4" creationId="{B6DE68CB-82C3-FAF8-BBB6-A5C4DB63F76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5" creationId="{091EFE5E-30DF-96B0-50DC-6033270C496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6" creationId="{7D13722D-8CE2-D888-E2CD-E5BBD76DE75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7" creationId="{7EA9B944-E89B-5DBF-B6D1-374350563F03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1600510049" sldId="1015"/>
            <ac:grpSpMk id="56" creationId="{7258753C-C4B3-1E70-7662-45BC51480D4B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93421494" sldId="101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93421494" sldId="1016"/>
            <ac:spMk id="3" creationId="{155F931A-76E8-C37C-4449-471FF441610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34874475" sldId="101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34874475" sldId="1017"/>
            <ac:spMk id="3" creationId="{0AD5F122-820A-4788-0BB2-566AF65F52AA}"/>
          </ac:spMkLst>
        </pc:spChg>
      </pc:sldChg>
      <pc:sldChg chg="modSp mod">
        <pc:chgData name="vonWaldow, Ulrich" userId="c64b3fe1-2fbf-4408-adc4-30add62e991f" providerId="ADAL" clId="{B99A90B8-7D29-4456-AFD4-0F3DBA13A596}" dt="2024-09-03T12:03:35.805" v="110374" actId="20577"/>
        <pc:sldMkLst>
          <pc:docMk/>
          <pc:sldMk cId="2861667292" sldId="1018"/>
        </pc:sldMkLst>
        <pc:spChg chg="mod">
          <ac:chgData name="vonWaldow, Ulrich" userId="c64b3fe1-2fbf-4408-adc4-30add62e991f" providerId="ADAL" clId="{B99A90B8-7D29-4456-AFD4-0F3DBA13A596}" dt="2024-09-03T12:03:35.805" v="110374" actId="20577"/>
          <ac:spMkLst>
            <pc:docMk/>
            <pc:sldMk cId="2861667292" sldId="1018"/>
            <ac:spMk id="3" creationId="{3B7D5972-3A95-6B6D-B19A-5F0E975FFE86}"/>
          </ac:spMkLst>
        </pc:spChg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634760911" sldId="101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34760911" sldId="1019"/>
            <ac:spMk id="3" creationId="{91FE597F-61CA-F9AE-9C82-A9E424142895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507611992" sldId="1019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113196262" sldId="1020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3302564404" sldId="102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714277225" sldId="1021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3478402479" sldId="102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478402479" sldId="1021"/>
            <ac:spMk id="3" creationId="{1F5DD0AB-EEE0-9B5B-1E09-7EF9975BBE3A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624988466" sldId="1022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2539578757" sldId="102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39578757" sldId="1022"/>
            <ac:spMk id="3" creationId="{6823B23D-8AA7-B73D-7C51-853C16DBB8F0}"/>
          </ac:spMkLst>
        </pc:spChg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484106577" sldId="102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413853532" sldId="1023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59612003" sldId="102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9612003" sldId="1024"/>
            <ac:spMk id="3" creationId="{414B5876-2B64-B677-E4F9-A1F3CA6D65D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214484687" sldId="1024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066573270" sldId="10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3" creationId="{24B08A27-37D2-078F-074F-C568E30F21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267" creationId="{35C3BA8A-63C6-C26F-CD9E-4F02DF89C41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268" creationId="{E6FB468A-F4FA-E723-E1D9-10310B1F5281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170000462" sldId="1025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1136969075" sldId="102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36969075" sldId="1026"/>
            <ac:spMk id="3" creationId="{036AA386-6549-C6CC-A341-C9FC3393756E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188653816" sldId="1026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470673870" sldId="1027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470673870" sldId="1027"/>
            <ac:spMk id="3" creationId="{CDF6E20A-7BD7-9052-10E2-C1E2BD5A2B1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575813109" sldId="1027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464324700" sldId="1028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64324700" sldId="1028"/>
            <ac:spMk id="3" creationId="{7B950B55-9C9C-E93B-8EA9-C1008A2674F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974190770" sldId="1028"/>
        </pc:sldMkLst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4246312145" sldId="102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246312145" sldId="1029"/>
            <ac:spMk id="3" creationId="{8707C3CC-2467-9F76-7A8B-69369836FBA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304725092" sldId="103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" creationId="{2836F4A1-CE55-2472-8764-177B5504062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" creationId="{5F1A69BF-BB94-BD21-28F2-7822F91143A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" creationId="{F61738AC-61F9-2DFA-C1A4-AE2E9837543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" creationId="{A9A9A1EC-3B56-D9B9-2C00-962182BC7D0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" creationId="{88262EFE-BD59-F5A9-114B-A3E9D8AB408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0" creationId="{CD02E810-CF81-9B7E-90DC-F3FE6316C2D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1" creationId="{3316654A-7236-7EA3-CFB5-22A8418BE65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2" creationId="{8BF2588B-776D-016C-7631-936BDE08906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3" creationId="{5F65FB6B-B065-38F0-0B99-DE61F0193BF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4" creationId="{275BFD64-F0D4-3CBF-3F95-32CBCF10D25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5" creationId="{492AA17D-70A1-EAEE-CB33-68AB6185E91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6" creationId="{82A70571-C2D1-8721-AA23-C8F74530F7F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7" creationId="{B1B88C6A-CA9E-C24D-F5A9-067E29EACB0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8" creationId="{F9FD64FB-7AED-8182-8708-445CBEF39E1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9" creationId="{06C96E52-3743-7C58-503D-660558E691B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0" creationId="{23FCFB34-2F00-E782-E9AE-B1E38D1D903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1" creationId="{543E811D-CB9F-C603-26FF-1426848CFB4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2" creationId="{D09AB237-0075-5ECD-90BF-45D7FC6CFC3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3" creationId="{305E362E-C80E-1A93-3C40-82C2A711DCD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4" creationId="{C0130037-3F03-9A82-D885-0B07CCA4DBF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5" creationId="{28A79F5E-6672-31EF-6F72-F246CCE1477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6" creationId="{D2245DCF-F5A8-8F23-44EF-AB314666E56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7" creationId="{2A138321-2361-D930-9B1C-E5A8BF03AF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9" creationId="{4FC8A3A1-3566-B933-C99D-8B08C7A2AE9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1" creationId="{4698DC78-2803-149D-CCD3-428DE673772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6" creationId="{89F02B4A-4598-DDF8-CDF4-8AD48D8F0F7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7" creationId="{5713856F-3B42-F069-84BA-968F9F14200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8" creationId="{318E5222-195A-74EC-A858-445B4CCE55D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9" creationId="{85A6DDAC-2680-0685-6036-6D74E934A34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0" creationId="{B426688F-81E4-4DCE-4F25-E6C0F30C596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1" creationId="{5D9F5FC2-F89F-12B8-5F57-88319DC84F9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2" creationId="{C11E1A93-7A89-9DCD-A625-5CD9358954E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3" creationId="{6E949CFE-66E0-A8B2-3568-9B6E1139345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4" creationId="{DCBB77BB-7CE6-F998-2305-93691D84431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5" creationId="{671405D6-1FF5-BB7F-1013-4C9681C6E4F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6" creationId="{D09E5B27-6C48-3C13-05CC-0F7E5EB18C7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7" creationId="{A1FE6C73-DE09-8CD5-8003-2F5D6E396F1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8" creationId="{B34D05F3-F2B2-B69F-D7E8-9C7A8C826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9" creationId="{AA493413-EB8F-0C17-20B2-DAB42FC8D81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0" creationId="{CE7B75F6-D5C6-6735-8063-7436D051024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1" creationId="{4E60ED96-37DF-B43E-81D1-03278A0C20E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2" creationId="{7E7DD41D-2B14-ABBD-3D9B-C9BDFF7A45C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3" creationId="{F51D44D4-A22B-94AE-52BB-1159A0D5D25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4" creationId="{1768D432-C1DD-D3F4-87B6-4E76FB60B06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5" creationId="{6559D0BA-FE26-E2BC-C5EC-AAF4F256098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6" creationId="{89CCEF08-ECEC-0CD9-EA85-CD260BC158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7" creationId="{90183BF9-2EF8-D2FD-C909-E41AA6DBD56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8" creationId="{D202B99D-3810-5DB8-E52F-8514936D899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9" creationId="{7138D382-59DE-BFD5-9E05-04CB7DB6186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0" creationId="{EB6DEEA0-10CA-D18B-DEAC-A28919BE089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1" creationId="{95ADFA80-81CF-C7B1-2A46-CF6F014812B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2" creationId="{10240B22-3C68-0D72-89DE-C540A6F9799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3" creationId="{28839697-7D32-485C-53E3-378D53C6C12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4" creationId="{3697901F-D611-69D4-4EE2-3B075E01C33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5" creationId="{C4EEC62A-7C15-B213-0A1D-DE8A6F9A3F3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6" creationId="{4C833E0D-D1F9-A7AE-CC47-1379CA45C8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7" creationId="{49A976E8-0B28-764D-B511-29CD7DA5138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8" creationId="{69981ECD-76D5-3394-AB71-D4F72392F7D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9" creationId="{3683D0E3-B8A9-3873-4799-A0DBB1F8E17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0" creationId="{7A92E027-64DD-B526-D736-36120E68A93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1" creationId="{88D92A75-7B29-5EC3-F8E7-1334EF9405A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2" creationId="{89343D97-E802-359C-0BFA-00DD5872F59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3" creationId="{1CFA7F09-F228-A1FF-5550-BA2D534A22F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4" creationId="{8BCF2636-E004-6B16-5998-0B1087CDCB1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5" creationId="{0A998A13-E39B-555A-FB91-1E8EAAAFE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6" creationId="{DCBB31F4-C60B-A3BD-08A5-5F8DA535F66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7" creationId="{C46E0A6E-0A9D-7B98-DAC8-1EEB5B057F6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8" creationId="{E95CFC8C-4F58-D1E1-D8C9-6E2ED84F77B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0" creationId="{169F364D-E2F2-B852-E336-1157BC2F351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1" creationId="{1EE20D10-0405-5DF3-8606-136B7006C42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2" creationId="{6DC5DBA6-4403-FB6B-ED2D-48E5E845A7F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3" creationId="{57CB9DDE-1520-7924-2D8F-9D3C4B15BED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5" creationId="{9F668A1F-EA83-5426-C4E7-2DF2EB03908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6" creationId="{1BE4E03C-EE08-C3CA-C0DF-495987DDACD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7" creationId="{0269D7BC-A477-4308-8B93-4053A82B430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8" creationId="{E45E44B0-D7EA-0CFA-D7F9-07625A0B853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9" creationId="{0D25B956-C4F9-778C-D664-26031590F39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0" creationId="{6CD081CF-D61C-320D-7B69-56FDAC4F309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1" creationId="{392BD9AF-F7E3-13C1-9461-45942A0E398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2" creationId="{6AD6BF06-4499-E416-EC64-3E1529029A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3" creationId="{D9FD4CD9-C184-3E85-5D3E-27BEE6F6999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4" creationId="{8F2E10A6-E53C-5F15-15CC-9A2A183DA8E1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5" creationId="{926185CB-7C2E-DAA9-D886-AFE4283BDB7B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2" creationId="{F89F367E-C0B8-BCDB-C2F0-8C90814714BD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3" creationId="{3AF30D03-A9D0-AF53-BF8C-079FE54C01F8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4" creationId="{315693FF-0B88-63CA-AD77-3656D4DEA955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5" creationId="{32FDDC8E-9EEC-8D93-E72F-790E6A946514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79" creationId="{9CA54A7D-B863-8599-88D4-0F952710A9D9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84" creationId="{E29C2B2F-0C20-F58F-D201-FBE5F9121A1B}"/>
          </ac:grpSpMkLst>
        </pc:grpChg>
      </pc:sldChg>
      <pc:sldChg chg="addSp modSp mod modShow">
        <pc:chgData name="vonWaldow, Ulrich" userId="c64b3fe1-2fbf-4408-adc4-30add62e991f" providerId="ADAL" clId="{B99A90B8-7D29-4456-AFD4-0F3DBA13A596}" dt="2024-08-28T07:44:04.887" v="105518"/>
        <pc:sldMkLst>
          <pc:docMk/>
          <pc:sldMk cId="1913400647" sldId="103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913400647" sldId="1032"/>
            <ac:spMk id="3" creationId="{1AD43F09-2282-7152-CE40-CBEA784E4212}"/>
          </ac:spMkLst>
        </pc:spChg>
        <pc:spChg chg="add mod">
          <ac:chgData name="vonWaldow, Ulrich" userId="c64b3fe1-2fbf-4408-adc4-30add62e991f" providerId="ADAL" clId="{B99A90B8-7D29-4456-AFD4-0F3DBA13A596}" dt="2024-08-27T13:47:01.196" v="105133" actId="403"/>
          <ac:spMkLst>
            <pc:docMk/>
            <pc:sldMk cId="1913400647" sldId="1032"/>
            <ac:spMk id="127" creationId="{5806BD1A-502C-02E2-CDED-FC1F5B980C1A}"/>
          </ac:spMkLst>
        </pc:spChg>
      </pc:sldChg>
      <pc:sldChg chg="ord">
        <pc:chgData name="vonWaldow, Ulrich" userId="c64b3fe1-2fbf-4408-adc4-30add62e991f" providerId="ADAL" clId="{B99A90B8-7D29-4456-AFD4-0F3DBA13A596}" dt="2024-08-27T13:19:04.781" v="105027"/>
        <pc:sldMkLst>
          <pc:docMk/>
          <pc:sldMk cId="3868808314" sldId="1033"/>
        </pc:sldMkLst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4055918093" sldId="103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055918093" sldId="1034"/>
            <ac:spMk id="3" creationId="{14A210CA-DE78-93EB-D2E2-C3605E8256B3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2448181362" sldId="103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448181362" sldId="1035"/>
            <ac:spMk id="3" creationId="{7254BB45-6618-A817-47F7-3E8C164FE501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2093757039" sldId="103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93757039" sldId="1036"/>
            <ac:spMk id="3" creationId="{28A4728C-912E-39F7-54AB-FCFDCC7059E3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1411467236" sldId="103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411467236" sldId="1037"/>
            <ac:spMk id="3" creationId="{BBD53635-8360-BE50-FA2F-3DA630194FF9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1834765493" sldId="103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34765493" sldId="1038"/>
            <ac:spMk id="3" creationId="{E31B079F-D2ED-B276-F0E4-40E87DB77889}"/>
          </ac:spMkLst>
        </pc:spChg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932710352" sldId="104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247847107" sldId="104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86548995" sldId="1041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320517649" sldId="1041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037599227" sldId="1042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37599227" sldId="1042"/>
            <ac:spMk id="7" creationId="{1C3E8D56-ADC7-B0CF-6574-FBDEC0BEA0C9}"/>
          </ac:spMkLst>
        </pc:spChg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37599227" sldId="1042"/>
            <ac:spMk id="9" creationId="{6132FAEA-0C4E-CE15-89A9-D59CB42AD85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37599227" sldId="1042"/>
            <ac:spMk id="166" creationId="{2219C8CE-CE16-9B11-499D-CAD256B90B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37599227" sldId="1042"/>
            <ac:spMk id="251" creationId="{44C0167A-3858-7C65-3B14-F94AF8E6BE65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304713181" sldId="1042"/>
        </pc:sldMkLst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1116807164" sldId="1050"/>
        </pc:sldMkLst>
        <pc:spChg chg="add del mod">
          <ac:chgData name="vonWaldow, Ulrich" userId="c64b3fe1-2fbf-4408-adc4-30add62e991f" providerId="ADAL" clId="{B99A90B8-7D29-4456-AFD4-0F3DBA13A596}" dt="2024-08-27T13:18:07.249" v="105020" actId="478"/>
          <ac:spMkLst>
            <pc:docMk/>
            <pc:sldMk cId="1116807164" sldId="1050"/>
            <ac:spMk id="4" creationId="{FDC01492-F159-9342-9E47-9A7B9CFC7200}"/>
          </ac:spMkLst>
        </pc:spChg>
        <pc:spChg chg="mod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7" creationId="{E31828AF-0DB2-F421-B3A4-53BB55565B46}"/>
          </ac:spMkLst>
        </pc:spChg>
        <pc:spChg chg="mod ord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8" creationId="{DAE6363C-B4C7-54F9-B619-A3E3586BB619}"/>
          </ac:spMkLst>
        </pc:spChg>
        <pc:spChg chg="del mod topLvl">
          <ac:chgData name="vonWaldow, Ulrich" userId="c64b3fe1-2fbf-4408-adc4-30add62e991f" providerId="ADAL" clId="{B99A90B8-7D29-4456-AFD4-0F3DBA13A596}" dt="2024-08-27T13:18:07.249" v="105020" actId="478"/>
          <ac:spMkLst>
            <pc:docMk/>
            <pc:sldMk cId="1116807164" sldId="1050"/>
            <ac:spMk id="9" creationId="{398D6273-3D3B-F855-8483-3248B8D85CD7}"/>
          </ac:spMkLst>
        </pc:spChg>
        <pc:spChg chg="add del mod">
          <ac:chgData name="vonWaldow, Ulrich" userId="c64b3fe1-2fbf-4408-adc4-30add62e991f" providerId="ADAL" clId="{B99A90B8-7D29-4456-AFD4-0F3DBA13A596}" dt="2024-08-27T13:18:06.067" v="105019" actId="478"/>
          <ac:spMkLst>
            <pc:docMk/>
            <pc:sldMk cId="1116807164" sldId="1050"/>
            <ac:spMk id="11" creationId="{61F1E57B-C02F-0EE5-EE38-1120EE77EB2C}"/>
          </ac:spMkLst>
        </pc:spChg>
        <pc:spChg chg="add 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2" creationId="{44D002AF-65CC-F600-8546-142166CC65A1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4" creationId="{60ED5F0F-792B-026B-373B-EACEF85F89A9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6" creationId="{F994FC7D-BAB1-81CF-AA8D-77B92B697256}"/>
          </ac:spMkLst>
        </pc:spChg>
        <pc:spChg chg="mod ord topLvl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17" creationId="{D303FF76-D0A0-8B6E-A68C-B103A2A3DE46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0" creationId="{D24BDF2C-23BC-E03C-9303-92C74CC4D4C2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1" creationId="{2A1197B2-BE0E-DAFC-431C-8323EE8C57ED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2" creationId="{C109C266-E417-F6E3-8C3E-4E63254CD4AC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4" creationId="{C07AE1C5-AE67-4914-1FBC-F395F087851C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6" creationId="{A39495BB-1AF5-5E16-0226-8403F8FDFBDA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116807164" sldId="1050"/>
            <ac:spMk id="27" creationId="{D8EE32E6-02B1-0A76-CA2E-6CB40215FC9B}"/>
          </ac:spMkLst>
        </pc:spChg>
        <pc:spChg chg="add 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8" creationId="{702527EC-E1A1-B310-8E8C-A0FE8CBDBBBE}"/>
          </ac:spMkLst>
        </pc:spChg>
        <pc:spChg chg="mod">
          <ac:chgData name="vonWaldow, Ulrich" userId="c64b3fe1-2fbf-4408-adc4-30add62e991f" providerId="ADAL" clId="{B99A90B8-7D29-4456-AFD4-0F3DBA13A596}" dt="2024-08-27T13:18:10.659" v="105023"/>
          <ac:spMkLst>
            <pc:docMk/>
            <pc:sldMk cId="1116807164" sldId="1050"/>
            <ac:spMk id="30" creationId="{1E42E5ED-3A44-0D39-D97E-102A35DB333F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33" creationId="{79212C82-B794-D711-DC7F-794BE5E64895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34" creationId="{BD4B815C-CD54-06B4-BE8D-2BF9560AFE7F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60" creationId="{88AA69E8-86AE-994C-5751-6B5266543C93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4" creationId="{82DCE711-7C6A-5CE5-FF29-6CB7FBCB1223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5" creationId="{462B3B11-4721-CD2D-5939-AA68450B813A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6" creationId="{52A07A57-F151-2BF4-B705-EB8C47E11B0D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8" creationId="{89C40EC8-1BF9-0F32-CABE-E20AEB982888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9" creationId="{1E928167-3605-80B1-A0B9-ACBE57C3961D}"/>
          </ac:spMkLst>
        </pc:spChg>
        <pc:grpChg chg="mod">
          <ac:chgData name="vonWaldow, Ulrich" userId="c64b3fe1-2fbf-4408-adc4-30add62e991f" providerId="ADAL" clId="{B99A90B8-7D29-4456-AFD4-0F3DBA13A596}" dt="2024-08-26T08:45:53.660" v="22"/>
          <ac:grpSpMkLst>
            <pc:docMk/>
            <pc:sldMk cId="1116807164" sldId="1050"/>
            <ac:grpSpMk id="2" creationId="{15285C8A-2314-45C3-97F1-475682814116}"/>
          </ac:grpSpMkLst>
        </pc:grpChg>
        <pc:grpChg chg="add 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3" creationId="{E3FB8B82-11B2-AD84-BF4C-66B8779CD597}"/>
          </ac:grpSpMkLst>
        </pc:grpChg>
        <pc:grpChg chg="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6T08:49:58.430" v="37" actId="165"/>
          <ac:grpSpMkLst>
            <pc:docMk/>
            <pc:sldMk cId="1116807164" sldId="1050"/>
            <ac:grpSpMk id="6" creationId="{8BD334C9-45B4-E349-0165-FC59DD94F2D0}"/>
          </ac:grpSpMkLst>
        </pc:grpChg>
        <pc:grpChg chg="add 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10" creationId="{AC0058AD-0069-8407-15E9-B04A3F1EFDC6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13" creationId="{7E42D476-AD10-D24F-C3F8-7FF34D918FD5}"/>
          </ac:grpSpMkLst>
        </pc:grpChg>
        <pc:grpChg chg="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15" creationId="{58A2683A-5376-EF9B-D95F-A6AC252271DB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25" creationId="{991CB119-5D64-DA59-C109-3A1668E9D804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29" creationId="{FC08A341-51D0-BADC-9AEB-9D57D4C3B882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709908133" sldId="105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709908133" sldId="1052"/>
            <ac:spMk id="3" creationId="{CF71E657-961D-0C57-CC77-12B35585E96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613172441" sldId="105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13172441" sldId="1058"/>
            <ac:spMk id="3" creationId="{24A7152F-3E95-0532-8E75-5EAA99D11F2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13172441" sldId="1058"/>
            <ac:spMk id="13" creationId="{ACA878C8-B00B-D28D-2747-FB5D8475FBA7}"/>
          </ac:spMkLst>
        </pc:spChg>
      </pc:sldChg>
      <pc:sldChg chg="modSp mod ord modShow">
        <pc:chgData name="vonWaldow, Ulrich" userId="c64b3fe1-2fbf-4408-adc4-30add62e991f" providerId="ADAL" clId="{B99A90B8-7D29-4456-AFD4-0F3DBA13A596}" dt="2024-08-28T07:44:04.887" v="105518"/>
        <pc:sldMkLst>
          <pc:docMk/>
          <pc:sldMk cId="3450348060" sldId="105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50348060" sldId="1059"/>
            <ac:spMk id="3" creationId="{42C33DF1-8C74-DFE4-E18E-915F8E3FF7F4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36" v="111754"/>
        <pc:sldMkLst>
          <pc:docMk/>
          <pc:sldMk cId="0" sldId="1455"/>
        </pc:sldMkLst>
        <pc:spChg chg="add del mod modVis">
          <ac:chgData name="vonWaldow, Ulrich" userId="c64b3fe1-2fbf-4408-adc4-30add62e991f" providerId="ADAL" clId="{B99A90B8-7D29-4456-AFD4-0F3DBA13A596}" dt="2024-09-03T12:07:13.753" v="111327"/>
          <ac:spMkLst>
            <pc:docMk/>
            <pc:sldMk cId="0" sldId="1455"/>
            <ac:spMk id="2" creationId="{58EAC2C4-5A61-84B2-B6C5-835D70C48E82}"/>
          </ac:spMkLst>
        </pc:spChg>
        <pc:spChg chg="add del mod modVis">
          <ac:chgData name="vonWaldow, Ulrich" userId="c64b3fe1-2fbf-4408-adc4-30add62e991f" providerId="ADAL" clId="{B99A90B8-7D29-4456-AFD4-0F3DBA13A596}" dt="2024-09-03T12:12:57.629" v="111752"/>
          <ac:spMkLst>
            <pc:docMk/>
            <pc:sldMk cId="0" sldId="1455"/>
            <ac:spMk id="3" creationId="{DC1A2914-1036-187D-F5EC-361F6F0FB9BA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0" sldId="1455"/>
            <ac:spMk id="16" creationId="{B4A7D0C6-22CC-A4E3-A19B-B8F0F58DDAA2}"/>
          </ac:spMkLst>
        </pc:spChg>
        <pc:spChg chg="mod">
          <ac:chgData name="vonWaldow, Ulrich" userId="c64b3fe1-2fbf-4408-adc4-30add62e991f" providerId="ADAL" clId="{B99A90B8-7D29-4456-AFD4-0F3DBA13A596}" dt="2024-09-03T12:12:57.572" v="111705"/>
          <ac:spMkLst>
            <pc:docMk/>
            <pc:sldMk cId="0" sldId="1455"/>
            <ac:spMk id="21509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1455"/>
            <ac:spMk id="21545" creationId="{00000000-0000-0000-0000-000000000000}"/>
          </ac:spMkLst>
        </pc:spChg>
        <pc:graphicFrameChg chg="mod">
          <ac:chgData name="vonWaldow, Ulrich" userId="c64b3fe1-2fbf-4408-adc4-30add62e991f" providerId="ADAL" clId="{B99A90B8-7D29-4456-AFD4-0F3DBA13A596}" dt="2024-09-03T12:12:57.636" v="111754"/>
          <ac:graphicFrameMkLst>
            <pc:docMk/>
            <pc:sldMk cId="0" sldId="1455"/>
            <ac:graphicFrameMk id="21600" creationId="{00000000-0000-0000-0000-000000000000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07:13.723" v="111308"/>
        <pc:sldMkLst>
          <pc:docMk/>
          <pc:sldMk cId="0" sldId="1499"/>
        </pc:sldMkLst>
        <pc:spChg chg="add del mod modVis">
          <ac:chgData name="vonWaldow, Ulrich" userId="c64b3fe1-2fbf-4408-adc4-30add62e991f" providerId="ADAL" clId="{B99A90B8-7D29-4456-AFD4-0F3DBA13A596}" dt="2024-09-03T12:07:13.721" v="111306"/>
          <ac:spMkLst>
            <pc:docMk/>
            <pc:sldMk cId="0" sldId="1499"/>
            <ac:spMk id="2" creationId="{B2B0EEBD-2FB1-8B3A-D4A8-72F8120B0B3A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0" sldId="1499"/>
            <ac:spMk id="3" creationId="{34B23B2E-0892-CF55-6054-6777623D776D}"/>
          </ac:spMkLst>
        </pc:spChg>
        <pc:spChg chg="mod">
          <ac:chgData name="vonWaldow, Ulrich" userId="c64b3fe1-2fbf-4408-adc4-30add62e991f" providerId="ADAL" clId="{B99A90B8-7D29-4456-AFD4-0F3DBA13A596}" dt="2024-09-03T12:07:13.659" v="111249"/>
          <ac:spMkLst>
            <pc:docMk/>
            <pc:sldMk cId="0" sldId="1499"/>
            <ac:spMk id="23558" creationId="{00000000-0000-0000-0000-000000000000}"/>
          </ac:spMkLst>
        </pc:spChg>
        <pc:graphicFrameChg chg="mod">
          <ac:chgData name="vonWaldow, Ulrich" userId="c64b3fe1-2fbf-4408-adc4-30add62e991f" providerId="ADAL" clId="{B99A90B8-7D29-4456-AFD4-0F3DBA13A596}" dt="2024-09-03T12:07:13.723" v="111308"/>
          <ac:graphicFrameMkLst>
            <pc:docMk/>
            <pc:sldMk cId="0" sldId="1499"/>
            <ac:graphicFrameMk id="6" creationId="{48623816-6FBD-A61C-1FB6-BDAF84D07423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7:25.309" v="112006" actId="20577"/>
        <pc:sldMkLst>
          <pc:docMk/>
          <pc:sldMk cId="1038071557" sldId="1500"/>
        </pc:sldMkLst>
        <pc:spChg chg="mod">
          <ac:chgData name="vonWaldow, Ulrich" userId="c64b3fe1-2fbf-4408-adc4-30add62e991f" providerId="ADAL" clId="{B99A90B8-7D29-4456-AFD4-0F3DBA13A596}" dt="2024-09-03T12:17:25.309" v="112006" actId="20577"/>
          <ac:spMkLst>
            <pc:docMk/>
            <pc:sldMk cId="1038071557" sldId="1500"/>
            <ac:spMk id="7" creationId="{09C3D469-2AC1-C01B-DBE0-7AA24BE31A3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1043451569" sldId="1501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043451569" sldId="1501"/>
            <ac:spMk id="25607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48954988" sldId="150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48954988" sldId="1503"/>
            <ac:spMk id="5" creationId="{C4001A3E-F882-0AB9-5723-EF4B4591B0D9}"/>
          </ac:spMkLst>
        </pc:spChg>
      </pc:sldChg>
      <pc:sldChg chg="modSp mod">
        <pc:chgData name="vonWaldow, Ulrich" userId="c64b3fe1-2fbf-4408-adc4-30add62e991f" providerId="ADAL" clId="{B99A90B8-7D29-4456-AFD4-0F3DBA13A596}" dt="2024-09-03T12:17:42.524" v="112008" actId="20577"/>
        <pc:sldMkLst>
          <pc:docMk/>
          <pc:sldMk cId="2954560847" sldId="1504"/>
        </pc:sldMkLst>
        <pc:spChg chg="mod">
          <ac:chgData name="vonWaldow, Ulrich" userId="c64b3fe1-2fbf-4408-adc4-30add62e991f" providerId="ADAL" clId="{B99A90B8-7D29-4456-AFD4-0F3DBA13A596}" dt="2024-09-03T12:17:42.524" v="112008" actId="20577"/>
          <ac:spMkLst>
            <pc:docMk/>
            <pc:sldMk cId="2954560847" sldId="1504"/>
            <ac:spMk id="28753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3479088550" sldId="150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479088550" sldId="1505"/>
            <ac:spMk id="4" creationId="{7AEA57F3-EAA9-AE4C-06FF-76CE18402153}"/>
          </ac:spMkLst>
        </pc:spChg>
      </pc:sldChg>
      <pc:sldChg chg="modSp mod">
        <pc:chgData name="vonWaldow, Ulrich" userId="c64b3fe1-2fbf-4408-adc4-30add62e991f" providerId="ADAL" clId="{B99A90B8-7D29-4456-AFD4-0F3DBA13A596}" dt="2024-09-03T12:17:39.815" v="112007" actId="20577"/>
        <pc:sldMkLst>
          <pc:docMk/>
          <pc:sldMk cId="2654690410" sldId="1506"/>
        </pc:sldMkLst>
        <pc:spChg chg="mod">
          <ac:chgData name="vonWaldow, Ulrich" userId="c64b3fe1-2fbf-4408-adc4-30add62e991f" providerId="ADAL" clId="{B99A90B8-7D29-4456-AFD4-0F3DBA13A596}" dt="2024-09-03T12:17:39.815" v="112007" actId="20577"/>
          <ac:spMkLst>
            <pc:docMk/>
            <pc:sldMk cId="2654690410" sldId="1506"/>
            <ac:spMk id="5" creationId="{B09F51D6-C8FA-756F-BF5B-B323134829A1}"/>
          </ac:spMkLst>
        </pc:s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1459009816" sldId="151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459009816" sldId="1510"/>
            <ac:spMk id="4" creationId="{5C818C2B-7F5B-18AF-5556-BED4E8A00E2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609193605" sldId="151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609193605" sldId="1511"/>
            <ac:spMk id="4" creationId="{77B7FCCD-DCE1-6044-ED26-3ED56E0472E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09193605" sldId="1511"/>
            <ac:spMk id="35845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09193605" sldId="1511"/>
            <ac:spMk id="35849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039899815" sldId="151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039899815" sldId="1512"/>
            <ac:spMk id="3" creationId="{152B2D32-6ADA-F7E2-76FE-52B0BE1085DA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1519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1519"/>
            <ac:spMk id="3" creationId="{D62A1D32-2441-244F-60BB-941F0D67250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3"/>
            <ac:spMk id="3" creationId="{109CB700-ABF0-965B-9B8D-B5C1FBDBDBD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4"/>
            <ac:spMk id="3" creationId="{DE83E7BA-8172-7688-0A51-523D9127FEB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5"/>
            <ac:spMk id="3" creationId="{CA511E2C-1F60-3175-39D1-EB43F34F5F1E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2879192407" sldId="159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2" creationId="{7FD0572C-02F6-4A8E-9C7A-EFFC4B255F0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6" creationId="{39C489CC-498B-4F18-9C8B-5B9E38F3D8C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16" creationId="{63877D21-E4FD-554F-F983-F5A9085E1243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117594729" sldId="160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117594729" sldId="1602"/>
            <ac:spMk id="3" creationId="{C8304C22-2FAD-7787-6F3B-1085647072C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17594729" sldId="1602"/>
            <ac:spMk id="65" creationId="{AC162CCA-00EF-4544-9EB6-C0705333491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117594729" sldId="1602"/>
            <ac:spMk id="74" creationId="{31AA8CC5-C7ED-44D1-AE24-428A86CC0131}"/>
          </ac:spMkLst>
        </pc:spChg>
      </pc:sldChg>
      <pc:sldChg chg="modSp mod">
        <pc:chgData name="vonWaldow, Ulrich" userId="c64b3fe1-2fbf-4408-adc4-30add62e991f" providerId="ADAL" clId="{B99A90B8-7D29-4456-AFD4-0F3DBA13A596}" dt="2024-09-03T12:12:57.006" v="111668"/>
        <pc:sldMkLst>
          <pc:docMk/>
          <pc:sldMk cId="2221910694" sldId="1603"/>
        </pc:sldMkLst>
        <pc:spChg chg="mod">
          <ac:chgData name="vonWaldow, Ulrich" userId="c64b3fe1-2fbf-4408-adc4-30add62e991f" providerId="ADAL" clId="{B99A90B8-7D29-4456-AFD4-0F3DBA13A596}" dt="2024-08-28T07:43:19.052" v="105510" actId="20577"/>
          <ac:spMkLst>
            <pc:docMk/>
            <pc:sldMk cId="2221910694" sldId="1603"/>
            <ac:spMk id="3" creationId="{5A5E6757-8494-897D-E6B1-273755F7612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221910694" sldId="1603"/>
            <ac:spMk id="33796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47676457" sldId="160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47676457" sldId="1604"/>
            <ac:spMk id="31" creationId="{2DC6DC33-63B7-F341-236A-28B257132704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076937511" sldId="160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076937511" sldId="1605"/>
            <ac:spMk id="3" creationId="{0E29EE59-FDC2-797E-EA5B-D3149ACE81E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6937511" sldId="1605"/>
            <ac:spMk id="69" creationId="{E9561212-5466-061C-19FA-1F370569406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6937511" sldId="1605"/>
            <ac:spMk id="70" creationId="{4B53DD13-8BC0-E6A2-653A-686D6D3E24C5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18442101" sldId="160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8442101" sldId="1606"/>
            <ac:spMk id="3" creationId="{E724D31B-96C5-12A4-07C7-0D84EC9F87AE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0" creationId="{1D767A6C-E94F-56E4-71FB-F182CE3F88F7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1" creationId="{10D0A5C5-15F4-04FA-7941-4C72C086EBB7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2" creationId="{8568667D-C508-445F-9224-7D805F7692F5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3" creationId="{4C9B3D3A-6BF1-D64E-9C1B-DC6A4F2424BC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4" creationId="{236FFF58-2C4B-A417-6FD3-C3341F88BA15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5" creationId="{9F01CF15-40C4-20F0-EBCE-1249D767BB14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6" creationId="{7320B530-3EF6-CC97-EC5A-581CE02C177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8442101" sldId="1606"/>
            <ac:spMk id="27" creationId="{0725BBF5-2775-E45A-B286-CF55479FB712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8" creationId="{AA3A4F01-BE0A-0D65-5D34-424427529CD1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9" creationId="{B330063A-AAEA-0CAA-2101-E5B867D0A7F4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0" creationId="{6BF29656-A6B7-1E8C-F31F-3B88FEEEAF2D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1" creationId="{BCCDB3FA-04A0-6679-C64E-200022BE2D9A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2" creationId="{F39CC055-DCCB-315E-E602-79DCA0696573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3" creationId="{CD1940F4-C86A-B297-569D-8B47C3320C68}"/>
          </ac:spMkLst>
        </pc:spChg>
        <pc:grpChg chg="mod">
          <ac:chgData name="vonWaldow, Ulrich" userId="c64b3fe1-2fbf-4408-adc4-30add62e991f" providerId="ADAL" clId="{B99A90B8-7D29-4456-AFD4-0F3DBA13A596}" dt="2024-08-28T07:43:55.460" v="105517"/>
          <ac:grpSpMkLst>
            <pc:docMk/>
            <pc:sldMk cId="418442101" sldId="1606"/>
            <ac:grpSpMk id="19" creationId="{72739F18-8C86-432D-5343-C18F1FFFEE6A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669011853" sldId="160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69011853" sldId="1608"/>
            <ac:spMk id="3" creationId="{1CD30B9B-F235-4C44-4923-17C386BF389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82156289" sldId="161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2156289" sldId="1611"/>
            <ac:spMk id="3" creationId="{4E6D1937-6408-DDEB-C2BB-6766BECF77AE}"/>
          </ac:spMkLst>
        </pc:spChg>
      </pc:sldChg>
      <pc:sldChg chg="modSp mod">
        <pc:chgData name="vonWaldow, Ulrich" userId="c64b3fe1-2fbf-4408-adc4-30add62e991f" providerId="ADAL" clId="{B99A90B8-7D29-4456-AFD4-0F3DBA13A596}" dt="2024-09-03T12:20:09.354" v="112054"/>
        <pc:sldMkLst>
          <pc:docMk/>
          <pc:sldMk cId="818500052" sldId="161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18500052" sldId="1612"/>
            <ac:spMk id="2" creationId="{3907200E-D621-1459-C1BB-D494C114ACF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18500052" sldId="1612"/>
            <ac:spMk id="3" creationId="{D5D8EE8F-7E6C-07BB-1DEA-549E16AC3022}"/>
          </ac:spMkLst>
        </pc:spChg>
        <pc:spChg chg="mod">
          <ac:chgData name="vonWaldow, Ulrich" userId="c64b3fe1-2fbf-4408-adc4-30add62e991f" providerId="ADAL" clId="{B99A90B8-7D29-4456-AFD4-0F3DBA13A596}" dt="2024-09-03T12:20:09.354" v="112054"/>
          <ac:spMkLst>
            <pc:docMk/>
            <pc:sldMk cId="818500052" sldId="1612"/>
            <ac:spMk id="70" creationId="{BD3D4C83-007F-9466-C2A7-D2790C710A93}"/>
          </ac:spMkLst>
        </pc:spChg>
        <pc:spChg chg="mod">
          <ac:chgData name="vonWaldow, Ulrich" userId="c64b3fe1-2fbf-4408-adc4-30add62e991f" providerId="ADAL" clId="{B99A90B8-7D29-4456-AFD4-0F3DBA13A596}" dt="2024-08-28T07:44:41.671" v="105531"/>
          <ac:spMkLst>
            <pc:docMk/>
            <pc:sldMk cId="818500052" sldId="1612"/>
            <ac:spMk id="71" creationId="{5C57F6DF-EDF7-D0A2-612B-B7B4CDFD95C0}"/>
          </ac:spMkLst>
        </pc:spChg>
        <pc:spChg chg="mod">
          <ac:chgData name="vonWaldow, Ulrich" userId="c64b3fe1-2fbf-4408-adc4-30add62e991f" providerId="ADAL" clId="{B99A90B8-7D29-4456-AFD4-0F3DBA13A596}" dt="2024-08-28T07:44:51.749" v="105538"/>
          <ac:spMkLst>
            <pc:docMk/>
            <pc:sldMk cId="818500052" sldId="1612"/>
            <ac:spMk id="72" creationId="{C1FE21F9-8E42-188A-2984-21B308993DB5}"/>
          </ac:spMkLst>
        </pc:spChg>
        <pc:spChg chg="mod">
          <ac:chgData name="vonWaldow, Ulrich" userId="c64b3fe1-2fbf-4408-adc4-30add62e991f" providerId="ADAL" clId="{B99A90B8-7D29-4456-AFD4-0F3DBA13A596}" dt="2024-08-28T07:44:51.749" v="105543"/>
          <ac:spMkLst>
            <pc:docMk/>
            <pc:sldMk cId="818500052" sldId="1612"/>
            <ac:spMk id="73" creationId="{5A1ABD72-535E-1ED7-C2FE-9EDE1477125F}"/>
          </ac:spMkLst>
        </pc:spChg>
        <pc:spChg chg="mod">
          <ac:chgData name="vonWaldow, Ulrich" userId="c64b3fe1-2fbf-4408-adc4-30add62e991f" providerId="ADAL" clId="{B99A90B8-7D29-4456-AFD4-0F3DBA13A596}" dt="2024-08-28T07:44:41.671" v="105532"/>
          <ac:spMkLst>
            <pc:docMk/>
            <pc:sldMk cId="818500052" sldId="1612"/>
            <ac:spMk id="74" creationId="{930A8841-CF4F-DE40-DB66-A4F7F9D616E3}"/>
          </ac:spMkLst>
        </pc:spChg>
        <pc:spChg chg="mod">
          <ac:chgData name="vonWaldow, Ulrich" userId="c64b3fe1-2fbf-4408-adc4-30add62e991f" providerId="ADAL" clId="{B99A90B8-7D29-4456-AFD4-0F3DBA13A596}" dt="2024-08-28T07:44:41.674" v="105533"/>
          <ac:spMkLst>
            <pc:docMk/>
            <pc:sldMk cId="818500052" sldId="1612"/>
            <ac:spMk id="75" creationId="{C2E375A8-997D-9109-F954-27DF1A513C4E}"/>
          </ac:spMkLst>
        </pc:spChg>
        <pc:spChg chg="mod">
          <ac:chgData name="vonWaldow, Ulrich" userId="c64b3fe1-2fbf-4408-adc4-30add62e991f" providerId="ADAL" clId="{B99A90B8-7D29-4456-AFD4-0F3DBA13A596}" dt="2024-08-28T07:44:51.749" v="105542"/>
          <ac:spMkLst>
            <pc:docMk/>
            <pc:sldMk cId="818500052" sldId="1612"/>
            <ac:spMk id="76" creationId="{90B45B48-183F-9F43-5A61-68FA0EB04954}"/>
          </ac:spMkLst>
        </pc:spChg>
        <pc:spChg chg="mod">
          <ac:chgData name="vonWaldow, Ulrich" userId="c64b3fe1-2fbf-4408-adc4-30add62e991f" providerId="ADAL" clId="{B99A90B8-7D29-4456-AFD4-0F3DBA13A596}" dt="2024-08-28T07:44:51.749" v="105540"/>
          <ac:spMkLst>
            <pc:docMk/>
            <pc:sldMk cId="818500052" sldId="1612"/>
            <ac:spMk id="77" creationId="{A0BC52E6-0424-C013-F368-C39609AAA56C}"/>
          </ac:spMkLst>
        </pc:spChg>
        <pc:spChg chg="mod">
          <ac:chgData name="vonWaldow, Ulrich" userId="c64b3fe1-2fbf-4408-adc4-30add62e991f" providerId="ADAL" clId="{B99A90B8-7D29-4456-AFD4-0F3DBA13A596}" dt="2024-08-28T07:44:41.674" v="105534"/>
          <ac:spMkLst>
            <pc:docMk/>
            <pc:sldMk cId="818500052" sldId="1612"/>
            <ac:spMk id="79" creationId="{73E1E5BF-D55D-ECDD-E4D1-3843FFC7A9FE}"/>
          </ac:spMkLst>
        </pc:spChg>
        <pc:spChg chg="mod">
          <ac:chgData name="vonWaldow, Ulrich" userId="c64b3fe1-2fbf-4408-adc4-30add62e991f" providerId="ADAL" clId="{B99A90B8-7D29-4456-AFD4-0F3DBA13A596}" dt="2024-08-28T07:44:51.749" v="105541"/>
          <ac:spMkLst>
            <pc:docMk/>
            <pc:sldMk cId="818500052" sldId="1612"/>
            <ac:spMk id="80" creationId="{BFA67BA2-202F-2B09-F2B6-694236F4326F}"/>
          </ac:spMkLst>
        </pc:spChg>
        <pc:spChg chg="mod">
          <ac:chgData name="vonWaldow, Ulrich" userId="c64b3fe1-2fbf-4408-adc4-30add62e991f" providerId="ADAL" clId="{B99A90B8-7D29-4456-AFD4-0F3DBA13A596}" dt="2024-08-28T07:44:41.674" v="105535"/>
          <ac:spMkLst>
            <pc:docMk/>
            <pc:sldMk cId="818500052" sldId="1612"/>
            <ac:spMk id="81" creationId="{B2555CE5-32CE-2DA2-D57B-9A984EF77C50}"/>
          </ac:spMkLst>
        </pc:spChg>
        <pc:spChg chg="mod">
          <ac:chgData name="vonWaldow, Ulrich" userId="c64b3fe1-2fbf-4408-adc4-30add62e991f" providerId="ADAL" clId="{B99A90B8-7D29-4456-AFD4-0F3DBA13A596}" dt="2024-08-28T07:44:41.674" v="105536"/>
          <ac:spMkLst>
            <pc:docMk/>
            <pc:sldMk cId="818500052" sldId="1612"/>
            <ac:spMk id="82" creationId="{50AB0FB4-0C00-68B9-A15A-40556AD95D0D}"/>
          </ac:spMkLst>
        </pc:spChg>
        <pc:spChg chg="mod">
          <ac:chgData name="vonWaldow, Ulrich" userId="c64b3fe1-2fbf-4408-adc4-30add62e991f" providerId="ADAL" clId="{B99A90B8-7D29-4456-AFD4-0F3DBA13A596}" dt="2024-08-28T07:44:51.749" v="105539"/>
          <ac:spMkLst>
            <pc:docMk/>
            <pc:sldMk cId="818500052" sldId="1612"/>
            <ac:spMk id="83" creationId="{A67B856D-1FDC-60D8-DC7F-CCF206402037}"/>
          </ac:spMkLst>
        </pc:spChg>
        <pc:spChg chg="mod">
          <ac:chgData name="vonWaldow, Ulrich" userId="c64b3fe1-2fbf-4408-adc4-30add62e991f" providerId="ADAL" clId="{B99A90B8-7D29-4456-AFD4-0F3DBA13A596}" dt="2024-08-28T07:45:26.771" v="105563"/>
          <ac:spMkLst>
            <pc:docMk/>
            <pc:sldMk cId="818500052" sldId="1612"/>
            <ac:spMk id="108" creationId="{D7F1095E-AC4F-2466-2CFA-B72AD0EF57A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18500052" sldId="1612"/>
            <ac:spMk id="109" creationId="{8280E577-E8E6-48EF-0428-9981E0DDCFB1}"/>
          </ac:spMkLst>
        </pc:spChg>
        <pc:spChg chg="mod">
          <ac:chgData name="vonWaldow, Ulrich" userId="c64b3fe1-2fbf-4408-adc4-30add62e991f" providerId="ADAL" clId="{B99A90B8-7D29-4456-AFD4-0F3DBA13A596}" dt="2024-08-28T07:45:26.771" v="105561"/>
          <ac:spMkLst>
            <pc:docMk/>
            <pc:sldMk cId="818500052" sldId="1612"/>
            <ac:spMk id="110" creationId="{C0FC5289-BEB7-9B5F-FF22-3E44E0EE4E44}"/>
          </ac:spMkLst>
        </pc:spChg>
        <pc:spChg chg="mod">
          <ac:chgData name="vonWaldow, Ulrich" userId="c64b3fe1-2fbf-4408-adc4-30add62e991f" providerId="ADAL" clId="{B99A90B8-7D29-4456-AFD4-0F3DBA13A596}" dt="2024-08-28T07:45:26.771" v="105564"/>
          <ac:spMkLst>
            <pc:docMk/>
            <pc:sldMk cId="818500052" sldId="1612"/>
            <ac:spMk id="111" creationId="{38EA92C8-2590-C442-6715-EE8D5B5025C8}"/>
          </ac:spMkLst>
        </pc:spChg>
        <pc:spChg chg="mod">
          <ac:chgData name="vonWaldow, Ulrich" userId="c64b3fe1-2fbf-4408-adc4-30add62e991f" providerId="ADAL" clId="{B99A90B8-7D29-4456-AFD4-0F3DBA13A596}" dt="2024-08-28T07:45:26.771" v="105562"/>
          <ac:spMkLst>
            <pc:docMk/>
            <pc:sldMk cId="818500052" sldId="1612"/>
            <ac:spMk id="113" creationId="{992C06EE-50FC-D7C8-C260-8A29D8057782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37" creationId="{F998FE87-888E-8573-6481-F0DF340B7C6B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38" creationId="{FC5ADD05-6377-EE1F-B89B-656C63C8B6E9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1" creationId="{1DA16CB7-22F6-700C-A654-4AB69E94453C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3" creationId="{6CA541EA-A5A6-D053-A2A3-C3CC46CC4695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5" creationId="{EF6EC193-945D-8241-AE8F-99945F1F43F0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7" creationId="{11B0D9E1-5024-8B0B-B3B1-B1603018699A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9" creationId="{80D4D070-9155-0E73-3C26-C037EB99A8A2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51" creationId="{86847E15-C6B0-6ED3-68CC-012DB18E918C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617388384" sldId="1613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617388384" sldId="1613"/>
            <ac:spMk id="3" creationId="{49916138-EFAD-A2DC-6D52-9E76F093667B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406603796" sldId="161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406603796" sldId="1614"/>
            <ac:spMk id="2" creationId="{8F4B91AD-0229-AF6B-E5AC-0F30716D9F7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06603796" sldId="1614"/>
            <ac:spMk id="3" creationId="{4B7AE937-1AF0-8F1C-C26F-60B0632F17D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406603796" sldId="1614"/>
            <ac:spMk id="8" creationId="{E9E5A830-86D1-8C2C-1055-2934D6C1F13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94899663" sldId="161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4899663" sldId="1615"/>
            <ac:spMk id="3" creationId="{7D1EFF8D-FAA5-2F07-9E3C-9D6975F3EC62}"/>
          </ac:spMkLst>
        </pc:spChg>
      </pc:sldChg>
      <pc:sldChg chg="modSp mod">
        <pc:chgData name="vonWaldow, Ulrich" userId="c64b3fe1-2fbf-4408-adc4-30add62e991f" providerId="ADAL" clId="{B99A90B8-7D29-4456-AFD4-0F3DBA13A596}" dt="2024-09-03T12:21:09.623" v="112056" actId="20577"/>
        <pc:sldMkLst>
          <pc:docMk/>
          <pc:sldMk cId="3335161693" sldId="1617"/>
        </pc:sldMkLst>
        <pc:spChg chg="mod">
          <ac:chgData name="vonWaldow, Ulrich" userId="c64b3fe1-2fbf-4408-adc4-30add62e991f" providerId="ADAL" clId="{B99A90B8-7D29-4456-AFD4-0F3DBA13A596}" dt="2024-09-03T12:21:09.623" v="112056" actId="20577"/>
          <ac:spMkLst>
            <pc:docMk/>
            <pc:sldMk cId="3335161693" sldId="1617"/>
            <ac:spMk id="3" creationId="{829B89BE-F5D6-B730-734A-A4B35720357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782962153" sldId="161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782962153" sldId="1618"/>
            <ac:spMk id="3" creationId="{3D4B52D6-8C0F-0E4C-B955-26822BD7268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621765055" sldId="161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21765055" sldId="1619"/>
            <ac:spMk id="3" creationId="{B540FA73-BEDE-064F-9FCD-244375DD5A4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654096430" sldId="162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654096430" sldId="1620"/>
            <ac:spMk id="3" creationId="{9668202F-8DEC-4705-4A7D-52762761426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43436800" sldId="162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43436800" sldId="1621"/>
            <ac:spMk id="3" creationId="{219C3DC3-223D-7564-96BF-56DA8F945C55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2936452022" sldId="162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36452022" sldId="1622"/>
            <ac:spMk id="3" creationId="{A51AECFA-4EBE-70A1-8370-ACBB764C91C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936452022" sldId="1622"/>
            <ac:spMk id="6" creationId="{EE72FB2A-0174-7166-5FDB-E4618D5D02FC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28427948" sldId="1623"/>
        </pc:sldMkLst>
        <pc:spChg chg="add del mod">
          <ac:chgData name="vonWaldow, Ulrich" userId="c64b3fe1-2fbf-4408-adc4-30add62e991f" providerId="ADAL" clId="{B99A90B8-7D29-4456-AFD4-0F3DBA13A596}" dt="2024-08-27T13:17:45.835" v="105007" actId="478"/>
          <ac:spMkLst>
            <pc:docMk/>
            <pc:sldMk cId="328427948" sldId="1623"/>
            <ac:spMk id="2" creationId="{67726ECB-2FB7-6267-881B-AF75B00C9FA5}"/>
          </ac:spMkLst>
        </pc:spChg>
        <pc:spChg chg="add 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7" creationId="{6312CED5-8027-E5EE-7CC9-C066B308E25B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0" creationId="{B1251081-5DEE-FBBC-0DF7-13D82538E815}"/>
          </ac:spMkLst>
        </pc:spChg>
        <pc:spChg chg="mod">
          <ac:chgData name="vonWaldow, Ulrich" userId="c64b3fe1-2fbf-4408-adc4-30add62e991f" providerId="ADAL" clId="{B99A90B8-7D29-4456-AFD4-0F3DBA13A596}" dt="2024-08-27T13:17:53.621" v="105011"/>
          <ac:spMkLst>
            <pc:docMk/>
            <pc:sldMk cId="328427948" sldId="1623"/>
            <ac:spMk id="12" creationId="{F7619DEA-73AE-2A60-467A-20BF8F05FD2E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3" creationId="{0C58CB0F-F80A-E986-D24B-47102FF2829C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4" creationId="{A78717A5-F8EF-EDD4-6905-DE3B6EBBC608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5" creationId="{C8EFFC9D-8C76-E7C3-EA73-750261DAD25D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6" creationId="{F59E14FF-BEF6-14D2-2240-909EE9D54D77}"/>
          </ac:spMkLst>
        </pc:spChg>
        <pc:spChg chg="del">
          <ac:chgData name="vonWaldow, Ulrich" userId="c64b3fe1-2fbf-4408-adc4-30add62e991f" providerId="ADAL" clId="{B99A90B8-7D29-4456-AFD4-0F3DBA13A596}" dt="2024-08-27T13:17:47.971" v="105008" actId="478"/>
          <ac:spMkLst>
            <pc:docMk/>
            <pc:sldMk cId="328427948" sldId="1623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1" creationId="{EFFD0770-14FF-A326-3729-C24B7E03EC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28427948" sldId="1623"/>
            <ac:spMk id="22" creationId="{BE441FBA-CC28-EAA8-66F1-2B3379C99C31}"/>
          </ac:spMkLst>
        </pc:spChg>
        <pc:spChg chg="add 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4" creationId="{FD677AFA-716A-3917-942D-8A550BD06E69}"/>
          </ac:spMkLst>
        </pc:spChg>
        <pc:spChg chg="mod">
          <ac:chgData name="vonWaldow, Ulrich" userId="c64b3fe1-2fbf-4408-adc4-30add62e991f" providerId="ADAL" clId="{B99A90B8-7D29-4456-AFD4-0F3DBA13A596}" dt="2024-08-27T13:17:57.846" v="105013"/>
          <ac:spMkLst>
            <pc:docMk/>
            <pc:sldMk cId="328427948" sldId="1623"/>
            <ac:spMk id="26" creationId="{3DD19DAB-29BA-3EC8-5686-0DC68C29592A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7" creationId="{E0CA52FA-3BCE-2D62-0425-51A707EEF40E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8" creationId="{43A464BD-1F69-BEAE-AC56-D902F773B4E9}"/>
          </ac:spMkLst>
        </pc:s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8" creationId="{E92EF41D-7F9F-433C-BAD7-174283AC81C9}"/>
          </ac:grpSpMkLst>
        </pc:grpChg>
        <pc:grpChg chg="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11" creationId="{EEE9A7D4-2346-84FF-E5C7-9E49BFFFACA2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20" creationId="{5C8832EB-714D-EA60-A161-9494DE977624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25" creationId="{A5AD665E-3973-1A9C-3D48-0149A5A3450E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994712387" sldId="1624"/>
        </pc:sldMkLst>
        <pc:spChg chg="add del mod">
          <ac:chgData name="vonWaldow, Ulrich" userId="c64b3fe1-2fbf-4408-adc4-30add62e991f" providerId="ADAL" clId="{B99A90B8-7D29-4456-AFD4-0F3DBA13A596}" dt="2024-08-27T13:17:15.582" v="104994" actId="478"/>
          <ac:spMkLst>
            <pc:docMk/>
            <pc:sldMk cId="3994712387" sldId="1624"/>
            <ac:spMk id="2" creationId="{C07A1198-FBEE-881E-65BE-27D423F59E72}"/>
          </ac:spMkLst>
        </pc:spChg>
        <pc:spChg chg="add 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7" creationId="{5E26D9DF-96D2-D09C-F1CF-F9227D505627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0" creationId="{08488AE6-1A2D-258A-F90C-CA11957EB872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2" creationId="{A6A1475E-8437-D087-8AE6-3E810120535A}"/>
          </ac:spMkLst>
        </pc:spChg>
        <pc:spChg chg="mod">
          <ac:chgData name="vonWaldow, Ulrich" userId="c64b3fe1-2fbf-4408-adc4-30add62e991f" providerId="ADAL" clId="{B99A90B8-7D29-4456-AFD4-0F3DBA13A596}" dt="2024-08-27T13:17:40.046" v="105004"/>
          <ac:spMkLst>
            <pc:docMk/>
            <pc:sldMk cId="3994712387" sldId="1624"/>
            <ac:spMk id="13" creationId="{4D5E08C6-8D86-07F9-FABF-A6157C2E34E1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4" creationId="{F22693DA-771D-D2B6-2135-3972832FCA6F}"/>
          </ac:spMkLst>
        </pc:spChg>
        <pc:spChg chg="mod">
          <ac:chgData name="vonWaldow, Ulrich" userId="c64b3fe1-2fbf-4408-adc4-30add62e991f" providerId="ADAL" clId="{B99A90B8-7D29-4456-AFD4-0F3DBA13A596}" dt="2024-08-27T13:17:43.042" v="105006"/>
          <ac:spMkLst>
            <pc:docMk/>
            <pc:sldMk cId="3994712387" sldId="1624"/>
            <ac:spMk id="15" creationId="{E3DA6805-DC2D-EFBC-58B6-62F2F6832B38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6" creationId="{587BFE89-116C-8D49-7442-5DC7F8271B1C}"/>
          </ac:spMkLst>
        </pc:spChg>
        <pc:spChg chg="add del">
          <ac:chgData name="vonWaldow, Ulrich" userId="c64b3fe1-2fbf-4408-adc4-30add62e991f" providerId="ADAL" clId="{B99A90B8-7D29-4456-AFD4-0F3DBA13A596}" dt="2024-08-27T13:17:22.925" v="104998" actId="478"/>
          <ac:spMkLst>
            <pc:docMk/>
            <pc:sldMk cId="3994712387" sldId="1624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1" creationId="{299B6333-24E8-81C7-4EF3-4A6D378059A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994712387" sldId="1624"/>
            <ac:spMk id="22" creationId="{CFCAB56D-4A4B-4931-77F2-439014B40B5F}"/>
          </ac:spMkLst>
        </pc:spChg>
        <pc:spChg chg="add 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4" creationId="{5A3F4BB7-052B-349D-DF67-20D7C8C3E224}"/>
          </ac:spMkLst>
        </pc:spChg>
        <pc:spChg chg="mod">
          <ac:chgData name="vonWaldow, Ulrich" userId="c64b3fe1-2fbf-4408-adc4-30add62e991f" providerId="ADAL" clId="{B99A90B8-7D29-4456-AFD4-0F3DBA13A596}" dt="2024-08-27T13:17:35.362" v="105002"/>
          <ac:spMkLst>
            <pc:docMk/>
            <pc:sldMk cId="3994712387" sldId="1624"/>
            <ac:spMk id="26" creationId="{AF6C80B8-19E4-3D0B-B369-55B092F2703D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7" creationId="{0556EBCB-42A0-8A24-3CCE-368112FF53EA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8" creationId="{9DFFA3A0-7249-9D16-6568-A89EE25A92A2}"/>
          </ac:spMkLst>
        </pc:s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4" creationId="{71AA2A2B-42DD-226C-B685-45F44E777C94}"/>
          </ac:grpSpMkLst>
        </pc:gr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5" creationId="{CDDABE41-69BC-5B90-6992-3FA3875F42B8}"/>
          </ac:grpSpMkLst>
        </pc:gr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8" creationId="{38927CB0-17E2-1724-6949-148EC6420D5F}"/>
          </ac:grpSpMkLst>
        </pc:grpChg>
        <pc:grpChg chg="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11" creationId="{BCBF770A-A133-49B4-5AA9-247CC78DDE69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20" creationId="{2D9C6588-E4E3-0B4D-16F4-F0FBFD2309A8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25" creationId="{C3C624C7-2655-9DFB-2040-D098346ABCA7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449855674" sldId="1625"/>
        </pc:sldMkLst>
        <pc:spChg chg="add del mod">
          <ac:chgData name="vonWaldow, Ulrich" userId="c64b3fe1-2fbf-4408-adc4-30add62e991f" providerId="ADAL" clId="{B99A90B8-7D29-4456-AFD4-0F3DBA13A596}" dt="2024-08-27T13:16:11.678" v="104975" actId="478"/>
          <ac:spMkLst>
            <pc:docMk/>
            <pc:sldMk cId="449855674" sldId="1625"/>
            <ac:spMk id="2" creationId="{F751F050-79C7-3F02-5B2B-0D34CB78A8AC}"/>
          </ac:spMkLst>
        </pc:spChg>
        <pc:spChg chg="add 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7" creationId="{A18279D1-6BDF-F1CF-AE05-D617999C891B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0" creationId="{A5A5AAC8-AF58-B987-D040-082E3AC269C0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2" creationId="{B77C2FA2-EB4A-7453-E009-EB03810865AC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3" creationId="{72344FA5-F163-0867-EE55-45CA9C022AAD}"/>
          </ac:spMkLst>
        </pc:spChg>
        <pc:spChg chg="mod">
          <ac:chgData name="vonWaldow, Ulrich" userId="c64b3fe1-2fbf-4408-adc4-30add62e991f" providerId="ADAL" clId="{B99A90B8-7D29-4456-AFD4-0F3DBA13A596}" dt="2024-08-27T13:17:07.384" v="104991"/>
          <ac:spMkLst>
            <pc:docMk/>
            <pc:sldMk cId="449855674" sldId="1625"/>
            <ac:spMk id="14" creationId="{C964944F-87ED-D5B7-2F33-668AD350FF94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5" creationId="{87F3F8D5-6D6E-6D62-B2B0-FDEEC0FA9D59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6" creationId="{9C29D6D9-BD94-D161-6FAB-5FB80135C991}"/>
          </ac:spMkLst>
        </pc:spChg>
        <pc:spChg chg="del">
          <ac:chgData name="vonWaldow, Ulrich" userId="c64b3fe1-2fbf-4408-adc4-30add62e991f" providerId="ADAL" clId="{B99A90B8-7D29-4456-AFD4-0F3DBA13A596}" dt="2024-08-27T13:17:02.074" v="104988" actId="478"/>
          <ac:spMkLst>
            <pc:docMk/>
            <pc:sldMk cId="449855674" sldId="1625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1" creationId="{D088DA23-D5AC-C328-A065-F0B2F3354AD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49855674" sldId="1625"/>
            <ac:spMk id="22" creationId="{CF725299-76EB-DFE5-2372-C1DE8E951D7F}"/>
          </ac:spMkLst>
        </pc:spChg>
        <pc:spChg chg="add 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4" creationId="{F22F1C6F-6473-3AD3-0824-E51609778305}"/>
          </ac:spMkLst>
        </pc:spChg>
        <pc:spChg chg="mod">
          <ac:chgData name="vonWaldow, Ulrich" userId="c64b3fe1-2fbf-4408-adc4-30add62e991f" providerId="ADAL" clId="{B99A90B8-7D29-4456-AFD4-0F3DBA13A596}" dt="2024-08-27T13:17:10.323" v="104993"/>
          <ac:spMkLst>
            <pc:docMk/>
            <pc:sldMk cId="449855674" sldId="1625"/>
            <ac:spMk id="26" creationId="{5BF8AEB1-25FD-67E1-2291-659F15905935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7" creationId="{349FE2C5-3A91-D2F8-9D70-2AE9F6DD355F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8" creationId="{7269775D-579D-D084-B680-86ACEE126EB4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8" creationId="{2681A6D2-43C3-39C2-353B-437A6F639F62}"/>
          </ac:grpSpMkLst>
        </pc:grpChg>
        <pc:grpChg chg="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11" creationId="{70FDEE7E-C9B5-4FC7-FF50-83D3DFEACD73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20" creationId="{8C9D18F1-B2DF-5F66-9406-6D6B77774EC8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25" creationId="{EB1F8B68-C782-17DD-1E80-2496D8022CD9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1957813140" sldId="1626"/>
        </pc:sldMkLst>
        <pc:spChg chg="add del mod">
          <ac:chgData name="vonWaldow, Ulrich" userId="c64b3fe1-2fbf-4408-adc4-30add62e991f" providerId="ADAL" clId="{B99A90B8-7D29-4456-AFD4-0F3DBA13A596}" dt="2024-08-27T13:16:09.408" v="104974" actId="478"/>
          <ac:spMkLst>
            <pc:docMk/>
            <pc:sldMk cId="1957813140" sldId="1626"/>
            <ac:spMk id="2" creationId="{91F0E0EF-1653-4A2C-D735-64DCE3B0A1DF}"/>
          </ac:spMkLst>
        </pc:spChg>
        <pc:spChg chg="add 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7" creationId="{D23FE93E-D14F-C183-0C96-E23EAA927BBB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0" creationId="{40DCC0FB-B44A-E731-2748-87E7FA61CB49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2" creationId="{A06D540D-867D-8B97-994D-FB0F737EA123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3" creationId="{E71CA334-66B8-6EA2-FED8-3F4C02B29EE9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4" creationId="{A4DB892E-A4F3-15B4-B739-32256AFFB34C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5" creationId="{B54DDAE9-1FA3-2516-C41B-4C7F3E081D49}"/>
          </ac:spMkLst>
        </pc:spChg>
        <pc:spChg chg="mod">
          <ac:chgData name="vonWaldow, Ulrich" userId="c64b3fe1-2fbf-4408-adc4-30add62e991f" providerId="ADAL" clId="{B99A90B8-7D29-4456-AFD4-0F3DBA13A596}" dt="2024-08-27T13:16:53.644" v="104985"/>
          <ac:spMkLst>
            <pc:docMk/>
            <pc:sldMk cId="1957813140" sldId="1626"/>
            <ac:spMk id="16" creationId="{D5486D06-991B-3D6E-5F4B-A7895C1E543A}"/>
          </ac:spMkLst>
        </pc:spChg>
        <pc:spChg chg="del">
          <ac:chgData name="vonWaldow, Ulrich" userId="c64b3fe1-2fbf-4408-adc4-30add62e991f" providerId="ADAL" clId="{B99A90B8-7D29-4456-AFD4-0F3DBA13A596}" dt="2024-08-27T13:16:45.902" v="104982" actId="478"/>
          <ac:spMkLst>
            <pc:docMk/>
            <pc:sldMk cId="1957813140" sldId="1626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1" creationId="{03DF5CA7-CA53-D561-36F5-B310FBDFDEF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957813140" sldId="1626"/>
            <ac:spMk id="22" creationId="{C34EC400-2D88-35AA-16F1-3D429A4E733A}"/>
          </ac:spMkLst>
        </pc:spChg>
        <pc:spChg chg="add 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4" creationId="{5F8CF5A8-4250-3D90-358B-6316E6B51A14}"/>
          </ac:spMkLst>
        </pc:spChg>
        <pc:spChg chg="mod">
          <ac:chgData name="vonWaldow, Ulrich" userId="c64b3fe1-2fbf-4408-adc4-30add62e991f" providerId="ADAL" clId="{B99A90B8-7D29-4456-AFD4-0F3DBA13A596}" dt="2024-08-27T13:16:56.953" v="104987"/>
          <ac:spMkLst>
            <pc:docMk/>
            <pc:sldMk cId="1957813140" sldId="1626"/>
            <ac:spMk id="26" creationId="{8F21D808-17F7-628C-76FD-6BAD55C0A117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7" creationId="{E45D00BA-312A-880D-C488-FEE76ADDEA9A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8" creationId="{E6577B79-7701-13B6-1A0D-DACC3964EAAD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8" creationId="{E72BF865-818E-471D-5D75-8D0A36599CCC}"/>
          </ac:grpSpMkLst>
        </pc:grpChg>
        <pc:grpChg chg="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11" creationId="{42135C58-AB1C-B804-53DD-C6C586BAC0D1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20" creationId="{F9749E19-EA40-64F4-4E50-F7EBE30BDB9E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25" creationId="{38DA653F-A4EB-1D5D-0D93-19F63F12D75F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20:19.471" v="112055" actId="478"/>
        <pc:sldMkLst>
          <pc:docMk/>
          <pc:sldMk cId="4244208363" sldId="1627"/>
        </pc:sldMkLst>
        <pc:spChg chg="add del mod">
          <ac:chgData name="vonWaldow, Ulrich" userId="c64b3fe1-2fbf-4408-adc4-30add62e991f" providerId="ADAL" clId="{B99A90B8-7D29-4456-AFD4-0F3DBA13A596}" dt="2024-08-27T13:16:05.797" v="104973" actId="478"/>
          <ac:spMkLst>
            <pc:docMk/>
            <pc:sldMk cId="4244208363" sldId="1627"/>
            <ac:spMk id="2" creationId="{7BFBDFC8-F5E8-FE60-B3E9-AC61086F5DB9}"/>
          </ac:spMkLst>
        </pc:spChg>
        <pc:spChg chg="add 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7" creationId="{5ABD7823-E323-DD02-D5A3-71C2CECAD503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0" creationId="{C1A180A2-962A-EADD-F649-EACF722D62A4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2" creationId="{D0A43B2F-CD43-2155-6B41-B31FD7B33B87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3" creationId="{C1E94545-8040-6634-D7E0-28FC25BECA65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4" creationId="{56691DBF-44EE-4D35-9B9E-856BC9761640}"/>
          </ac:spMkLst>
        </pc:spChg>
        <pc:spChg chg="mod">
          <ac:chgData name="vonWaldow, Ulrich" userId="c64b3fe1-2fbf-4408-adc4-30add62e991f" providerId="ADAL" clId="{B99A90B8-7D29-4456-AFD4-0F3DBA13A596}" dt="2024-08-27T13:16:35.141" v="104979"/>
          <ac:spMkLst>
            <pc:docMk/>
            <pc:sldMk cId="4244208363" sldId="1627"/>
            <ac:spMk id="15" creationId="{9394CBB7-0C60-B683-7986-D283F8673BBD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6" creationId="{BD1868FB-010B-BC84-BA85-1989A41F390C}"/>
          </ac:spMkLst>
        </pc:spChg>
        <pc:spChg chg="del">
          <ac:chgData name="vonWaldow, Ulrich" userId="c64b3fe1-2fbf-4408-adc4-30add62e991f" providerId="ADAL" clId="{B99A90B8-7D29-4456-AFD4-0F3DBA13A596}" dt="2024-08-27T13:16:29.454" v="104976" actId="478"/>
          <ac:spMkLst>
            <pc:docMk/>
            <pc:sldMk cId="4244208363" sldId="1627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1" creationId="{B6DC9C1B-7E35-D4B5-EA26-E02146D1489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244208363" sldId="1627"/>
            <ac:spMk id="22" creationId="{48870BF5-AEB0-4C51-78DF-C2202399159C}"/>
          </ac:spMkLst>
        </pc:spChg>
        <pc:spChg chg="add 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4" creationId="{F337E8DE-4401-F1BA-60C5-B7BB5C9838C2}"/>
          </ac:spMkLst>
        </pc:spChg>
        <pc:spChg chg="mod">
          <ac:chgData name="vonWaldow, Ulrich" userId="c64b3fe1-2fbf-4408-adc4-30add62e991f" providerId="ADAL" clId="{B99A90B8-7D29-4456-AFD4-0F3DBA13A596}" dt="2024-08-27T13:16:38.742" v="104981"/>
          <ac:spMkLst>
            <pc:docMk/>
            <pc:sldMk cId="4244208363" sldId="1627"/>
            <ac:spMk id="26" creationId="{A12AD110-444C-04EE-1A03-245EC761BEDD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7" creationId="{2B45D9C8-86FF-C2F9-FBFE-F7B33638BDBF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8" creationId="{32E5E517-3A57-62FE-3442-3987C9001558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8" creationId="{9DF27985-1777-8BDB-94FA-F1FA9DD61CB2}"/>
          </ac:grpSpMkLst>
        </pc:grpChg>
        <pc:grpChg chg="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11" creationId="{3B27812B-EEB6-FF22-DF66-1DA64FB10895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20" creationId="{FAB5B909-39B6-A092-E8B9-ABE7DFA02025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25" creationId="{DE970786-DE03-0DFD-E82C-90C700016877}"/>
          </ac:grpSpMkLst>
        </pc:grpChg>
      </pc:sldChg>
      <pc:sldChg chg="addSp modSp add del mod">
        <pc:chgData name="vonWaldow, Ulrich" userId="c64b3fe1-2fbf-4408-adc4-30add62e991f" providerId="ADAL" clId="{B99A90B8-7D29-4456-AFD4-0F3DBA13A596}" dt="2024-08-26T08:53:29.385" v="195" actId="47"/>
        <pc:sldMkLst>
          <pc:docMk/>
          <pc:sldMk cId="972333357" sldId="1628"/>
        </pc:sldMkLst>
        <pc:spChg chg="add mod">
          <ac:chgData name="vonWaldow, Ulrich" userId="c64b3fe1-2fbf-4408-adc4-30add62e991f" providerId="ADAL" clId="{B99A90B8-7D29-4456-AFD4-0F3DBA13A596}" dt="2024-08-26T08:52:51.786" v="160"/>
          <ac:spMkLst>
            <pc:docMk/>
            <pc:sldMk cId="972333357" sldId="1628"/>
            <ac:spMk id="2" creationId="{11C98709-2D13-D09D-35BB-981E0E5B8818}"/>
          </ac:spMkLst>
        </pc:spChg>
        <pc:graphicFrameChg chg="mod">
          <ac:chgData name="vonWaldow, Ulrich" userId="c64b3fe1-2fbf-4408-adc4-30add62e991f" providerId="ADAL" clId="{B99A90B8-7D29-4456-AFD4-0F3DBA13A596}" dt="2024-08-26T08:53:24.971" v="170"/>
          <ac:graphicFrameMkLst>
            <pc:docMk/>
            <pc:sldMk cId="972333357" sldId="1628"/>
            <ac:graphicFrameMk id="32" creationId="{7B00AEBC-98B0-EC3B-9321-317955930386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4:41.604" v="112139" actId="20577"/>
        <pc:sldMkLst>
          <pc:docMk/>
          <pc:sldMk cId="1539197164" sldId="1630"/>
        </pc:sldMkLst>
        <pc:spChg chg="mod">
          <ac:chgData name="vonWaldow, Ulrich" userId="c64b3fe1-2fbf-4408-adc4-30add62e991f" providerId="ADAL" clId="{B99A90B8-7D29-4456-AFD4-0F3DBA13A596}" dt="2024-09-03T12:24:41.604" v="112139" actId="20577"/>
          <ac:spMkLst>
            <pc:docMk/>
            <pc:sldMk cId="1539197164" sldId="1630"/>
            <ac:spMk id="3" creationId="{7A2C9A5A-9E83-89C2-F885-6075F6F6F08D}"/>
          </ac:spMkLst>
        </pc:spChg>
      </pc:sldChg>
      <pc:sldChg chg="addSp modSp mod">
        <pc:chgData name="vonWaldow, Ulrich" userId="c64b3fe1-2fbf-4408-adc4-30add62e991f" providerId="ADAL" clId="{B99A90B8-7D29-4456-AFD4-0F3DBA13A596}" dt="2024-09-03T12:28:29.379" v="112304" actId="1037"/>
        <pc:sldMkLst>
          <pc:docMk/>
          <pc:sldMk cId="3737225121" sldId="1632"/>
        </pc:sldMkLst>
        <pc:spChg chg="mod">
          <ac:chgData name="vonWaldow, Ulrich" userId="c64b3fe1-2fbf-4408-adc4-30add62e991f" providerId="ADAL" clId="{B99A90B8-7D29-4456-AFD4-0F3DBA13A596}" dt="2024-09-03T12:26:05.268" v="112197" actId="1076"/>
          <ac:spMkLst>
            <pc:docMk/>
            <pc:sldMk cId="3737225121" sldId="1632"/>
            <ac:spMk id="4" creationId="{EAD02597-D41A-3DA8-DB7D-D505D31CD19C}"/>
          </ac:spMkLst>
        </pc:spChg>
        <pc:spChg chg="add mod">
          <ac:chgData name="vonWaldow, Ulrich" userId="c64b3fe1-2fbf-4408-adc4-30add62e991f" providerId="ADAL" clId="{B99A90B8-7D29-4456-AFD4-0F3DBA13A596}" dt="2024-09-03T12:28:29.379" v="112304" actId="1037"/>
          <ac:spMkLst>
            <pc:docMk/>
            <pc:sldMk cId="3737225121" sldId="1632"/>
            <ac:spMk id="8" creationId="{657BF971-BC2A-953C-EB8A-3D77FE9CA066}"/>
          </ac:spMkLst>
        </pc:spChg>
        <pc:spChg chg="mod">
          <ac:chgData name="vonWaldow, Ulrich" userId="c64b3fe1-2fbf-4408-adc4-30add62e991f" providerId="ADAL" clId="{B99A90B8-7D29-4456-AFD4-0F3DBA13A596}" dt="2024-09-03T12:26:55.110" v="112241" actId="20577"/>
          <ac:spMkLst>
            <pc:docMk/>
            <pc:sldMk cId="3737225121" sldId="1632"/>
            <ac:spMk id="52" creationId="{F74C9BF8-9005-DF1F-940E-CFF18ADF5DF5}"/>
          </ac:spMkLst>
        </pc:spChg>
        <pc:spChg chg="mod">
          <ac:chgData name="vonWaldow, Ulrich" userId="c64b3fe1-2fbf-4408-adc4-30add62e991f" providerId="ADAL" clId="{B99A90B8-7D29-4456-AFD4-0F3DBA13A596}" dt="2024-09-03T12:26:48.515" v="112235" actId="20577"/>
          <ac:spMkLst>
            <pc:docMk/>
            <pc:sldMk cId="3737225121" sldId="1632"/>
            <ac:spMk id="53" creationId="{BDBB2153-DCB0-BC50-D392-273890E97A00}"/>
          </ac:spMkLst>
        </pc:spChg>
        <pc:spChg chg="mod">
          <ac:chgData name="vonWaldow, Ulrich" userId="c64b3fe1-2fbf-4408-adc4-30add62e991f" providerId="ADAL" clId="{B99A90B8-7D29-4456-AFD4-0F3DBA13A596}" dt="2024-09-03T12:26:49.151" v="112236" actId="20577"/>
          <ac:spMkLst>
            <pc:docMk/>
            <pc:sldMk cId="3737225121" sldId="1632"/>
            <ac:spMk id="54" creationId="{2348C553-2969-537D-2AF6-1FCBB0527865}"/>
          </ac:spMkLst>
        </pc:spChg>
        <pc:spChg chg="mod">
          <ac:chgData name="vonWaldow, Ulrich" userId="c64b3fe1-2fbf-4408-adc4-30add62e991f" providerId="ADAL" clId="{B99A90B8-7D29-4456-AFD4-0F3DBA13A596}" dt="2024-09-03T12:26:50.488" v="112237" actId="20577"/>
          <ac:spMkLst>
            <pc:docMk/>
            <pc:sldMk cId="3737225121" sldId="1632"/>
            <ac:spMk id="55" creationId="{91B6A09A-E5F3-3E2B-4CBC-A1A716FC33D1}"/>
          </ac:spMkLst>
        </pc:spChg>
        <pc:spChg chg="mod">
          <ac:chgData name="vonWaldow, Ulrich" userId="c64b3fe1-2fbf-4408-adc4-30add62e991f" providerId="ADAL" clId="{B99A90B8-7D29-4456-AFD4-0F3DBA13A596}" dt="2024-09-03T12:26:51.135" v="112238" actId="20577"/>
          <ac:spMkLst>
            <pc:docMk/>
            <pc:sldMk cId="3737225121" sldId="1632"/>
            <ac:spMk id="56" creationId="{197B72AA-D408-0C16-1C37-AB237381F6ED}"/>
          </ac:spMkLst>
        </pc:spChg>
        <pc:spChg chg="mod">
          <ac:chgData name="vonWaldow, Ulrich" userId="c64b3fe1-2fbf-4408-adc4-30add62e991f" providerId="ADAL" clId="{B99A90B8-7D29-4456-AFD4-0F3DBA13A596}" dt="2024-09-03T12:26:41.490" v="112228" actId="20577"/>
          <ac:spMkLst>
            <pc:docMk/>
            <pc:sldMk cId="3737225121" sldId="1632"/>
            <ac:spMk id="61" creationId="{A47655F6-7C4A-CA5E-77BB-85AD1F2A7B1D}"/>
          </ac:spMkLst>
        </pc:spChg>
        <pc:spChg chg="mod">
          <ac:chgData name="vonWaldow, Ulrich" userId="c64b3fe1-2fbf-4408-adc4-30add62e991f" providerId="ADAL" clId="{B99A90B8-7D29-4456-AFD4-0F3DBA13A596}" dt="2024-09-03T12:26:32.697" v="112212" actId="20577"/>
          <ac:spMkLst>
            <pc:docMk/>
            <pc:sldMk cId="3737225121" sldId="1632"/>
            <ac:spMk id="62" creationId="{E97FD933-696A-2EDC-937C-3B1DB2E07BF9}"/>
          </ac:spMkLst>
        </pc:spChg>
        <pc:spChg chg="mod">
          <ac:chgData name="vonWaldow, Ulrich" userId="c64b3fe1-2fbf-4408-adc4-30add62e991f" providerId="ADAL" clId="{B99A90B8-7D29-4456-AFD4-0F3DBA13A596}" dt="2024-09-03T12:26:36.033" v="112218" actId="20577"/>
          <ac:spMkLst>
            <pc:docMk/>
            <pc:sldMk cId="3737225121" sldId="1632"/>
            <ac:spMk id="64" creationId="{CB77FD70-F473-C250-5586-6D5C0B77EADE}"/>
          </ac:spMkLst>
        </pc:spChg>
        <pc:spChg chg="mod">
          <ac:chgData name="vonWaldow, Ulrich" userId="c64b3fe1-2fbf-4408-adc4-30add62e991f" providerId="ADAL" clId="{B99A90B8-7D29-4456-AFD4-0F3DBA13A596}" dt="2024-09-03T12:26:43.009" v="112231" actId="20577"/>
          <ac:spMkLst>
            <pc:docMk/>
            <pc:sldMk cId="3737225121" sldId="1632"/>
            <ac:spMk id="66" creationId="{3021CFBA-8902-E9BF-A105-AD1A8739C51F}"/>
          </ac:spMkLst>
        </pc:spChg>
        <pc:spChg chg="mod">
          <ac:chgData name="vonWaldow, Ulrich" userId="c64b3fe1-2fbf-4408-adc4-30add62e991f" providerId="ADAL" clId="{B99A90B8-7D29-4456-AFD4-0F3DBA13A596}" dt="2024-09-03T12:26:40.470" v="112225" actId="20577"/>
          <ac:spMkLst>
            <pc:docMk/>
            <pc:sldMk cId="3737225121" sldId="1632"/>
            <ac:spMk id="72" creationId="{B907645C-D1BB-A828-DC2F-FB8244CF8E62}"/>
          </ac:spMkLst>
        </pc:spChg>
        <pc:spChg chg="mod">
          <ac:chgData name="vonWaldow, Ulrich" userId="c64b3fe1-2fbf-4408-adc4-30add62e991f" providerId="ADAL" clId="{B99A90B8-7D29-4456-AFD4-0F3DBA13A596}" dt="2024-09-03T12:26:34.306" v="112215" actId="20577"/>
          <ac:spMkLst>
            <pc:docMk/>
            <pc:sldMk cId="3737225121" sldId="1632"/>
            <ac:spMk id="73" creationId="{ADF92DAA-CA52-936C-5C20-5A656D68960C}"/>
          </ac:spMkLst>
        </pc:spChg>
        <pc:spChg chg="mod">
          <ac:chgData name="vonWaldow, Ulrich" userId="c64b3fe1-2fbf-4408-adc4-30add62e991f" providerId="ADAL" clId="{B99A90B8-7D29-4456-AFD4-0F3DBA13A596}" dt="2024-09-03T12:26:38.523" v="112222" actId="20577"/>
          <ac:spMkLst>
            <pc:docMk/>
            <pc:sldMk cId="3737225121" sldId="1632"/>
            <ac:spMk id="75" creationId="{97BB1213-B2D7-5C9B-1AA0-901D1B6D1FB7}"/>
          </ac:spMkLst>
        </pc:spChg>
        <pc:spChg chg="mod">
          <ac:chgData name="vonWaldow, Ulrich" userId="c64b3fe1-2fbf-4408-adc4-30add62e991f" providerId="ADAL" clId="{B99A90B8-7D29-4456-AFD4-0F3DBA13A596}" dt="2024-09-03T12:26:44.154" v="112234" actId="20577"/>
          <ac:spMkLst>
            <pc:docMk/>
            <pc:sldMk cId="3737225121" sldId="1632"/>
            <ac:spMk id="77" creationId="{CF308184-31FC-B1C1-EA33-93B82F76E140}"/>
          </ac:spMkLst>
        </pc:spChg>
        <pc:spChg chg="mod">
          <ac:chgData name="vonWaldow, Ulrich" userId="c64b3fe1-2fbf-4408-adc4-30add62e991f" providerId="ADAL" clId="{B99A90B8-7D29-4456-AFD4-0F3DBA13A596}" dt="2024-09-03T12:25:15.459" v="112169" actId="6549"/>
          <ac:spMkLst>
            <pc:docMk/>
            <pc:sldMk cId="3737225121" sldId="1632"/>
            <ac:spMk id="135" creationId="{14782738-F5BF-99A4-1FEF-466575B3D877}"/>
          </ac:spMkLst>
        </pc:spChg>
        <pc:spChg chg="mod">
          <ac:chgData name="vonWaldow, Ulrich" userId="c64b3fe1-2fbf-4408-adc4-30add62e991f" providerId="ADAL" clId="{B99A90B8-7D29-4456-AFD4-0F3DBA13A596}" dt="2024-09-03T12:25:13.385" v="112163" actId="6549"/>
          <ac:spMkLst>
            <pc:docMk/>
            <pc:sldMk cId="3737225121" sldId="1632"/>
            <ac:spMk id="137" creationId="{05F59210-5C45-C8C9-464E-8046A6A89E5D}"/>
          </ac:spMkLst>
        </pc:spChg>
        <pc:spChg chg="mod">
          <ac:chgData name="vonWaldow, Ulrich" userId="c64b3fe1-2fbf-4408-adc4-30add62e991f" providerId="ADAL" clId="{B99A90B8-7D29-4456-AFD4-0F3DBA13A596}" dt="2024-09-03T12:25:22.035" v="112173" actId="6549"/>
          <ac:spMkLst>
            <pc:docMk/>
            <pc:sldMk cId="3737225121" sldId="1632"/>
            <ac:spMk id="139" creationId="{3FA4616E-5C86-7045-C28D-A42D5D4B5921}"/>
          </ac:spMkLst>
        </pc:spChg>
        <pc:spChg chg="mod">
          <ac:chgData name="vonWaldow, Ulrich" userId="c64b3fe1-2fbf-4408-adc4-30add62e991f" providerId="ADAL" clId="{B99A90B8-7D29-4456-AFD4-0F3DBA13A596}" dt="2024-09-03T12:27:11.913" v="112242" actId="14100"/>
          <ac:spMkLst>
            <pc:docMk/>
            <pc:sldMk cId="3737225121" sldId="1632"/>
            <ac:spMk id="147" creationId="{D54B8C7E-01CD-F468-9685-7B6C6C60B9A0}"/>
          </ac:spMkLst>
        </pc:spChg>
        <pc:spChg chg="mod">
          <ac:chgData name="vonWaldow, Ulrich" userId="c64b3fe1-2fbf-4408-adc4-30add62e991f" providerId="ADAL" clId="{B99A90B8-7D29-4456-AFD4-0F3DBA13A596}" dt="2024-09-03T12:27:16.170" v="112244"/>
          <ac:spMkLst>
            <pc:docMk/>
            <pc:sldMk cId="3737225121" sldId="1632"/>
            <ac:spMk id="148" creationId="{BF000FFA-9421-F2AF-83E5-DB4EE0B671EE}"/>
          </ac:spMkLst>
        </pc:spChg>
        <pc:picChg chg="add mod">
          <ac:chgData name="vonWaldow, Ulrich" userId="c64b3fe1-2fbf-4408-adc4-30add62e991f" providerId="ADAL" clId="{B99A90B8-7D29-4456-AFD4-0F3DBA13A596}" dt="2024-09-03T12:27:58.278" v="112257" actId="1076"/>
          <ac:picMkLst>
            <pc:docMk/>
            <pc:sldMk cId="3737225121" sldId="1632"/>
            <ac:picMk id="7" creationId="{9FC5B9C1-0575-E6BB-7106-BC231255455D}"/>
          </ac:picMkLst>
        </pc:picChg>
        <pc:cxnChg chg="mod">
          <ac:chgData name="vonWaldow, Ulrich" userId="c64b3fe1-2fbf-4408-adc4-30add62e991f" providerId="ADAL" clId="{B99A90B8-7D29-4456-AFD4-0F3DBA13A596}" dt="2024-09-03T12:27:47.871" v="112253" actId="1076"/>
          <ac:cxnSpMkLst>
            <pc:docMk/>
            <pc:sldMk cId="3737225121" sldId="1632"/>
            <ac:cxnSpMk id="43" creationId="{6C112326-3CA7-2B9B-2C94-CAC5B18220B8}"/>
          </ac:cxnSpMkLst>
        </pc:cxnChg>
      </pc:sldChg>
      <pc:sldChg chg="addSp delSp modSp del mod">
        <pc:chgData name="vonWaldow, Ulrich" userId="c64b3fe1-2fbf-4408-adc4-30add62e991f" providerId="ADAL" clId="{B99A90B8-7D29-4456-AFD4-0F3DBA13A596}" dt="2024-09-03T12:02:28.092" v="110308" actId="47"/>
        <pc:sldMkLst>
          <pc:docMk/>
          <pc:sldMk cId="294187832" sldId="1635"/>
        </pc:sldMkLst>
        <pc:spChg chg="mod ord">
          <ac:chgData name="vonWaldow, Ulrich" userId="c64b3fe1-2fbf-4408-adc4-30add62e991f" providerId="ADAL" clId="{B99A90B8-7D29-4456-AFD4-0F3DBA13A596}" dt="2024-09-02T13:35:17.370" v="109489"/>
          <ac:spMkLst>
            <pc:docMk/>
            <pc:sldMk cId="294187832" sldId="1635"/>
            <ac:spMk id="2" creationId="{7DDCC87D-8462-1A5F-1283-30BA479D3825}"/>
          </ac:spMkLst>
        </pc:spChg>
        <pc:spChg chg="mod ord">
          <ac:chgData name="vonWaldow, Ulrich" userId="c64b3fe1-2fbf-4408-adc4-30add62e991f" providerId="ADAL" clId="{B99A90B8-7D29-4456-AFD4-0F3DBA13A596}" dt="2024-09-02T13:35:17.371" v="109491"/>
          <ac:spMkLst>
            <pc:docMk/>
            <pc:sldMk cId="294187832" sldId="1635"/>
            <ac:spMk id="3" creationId="{23AA127A-9796-AB78-6B38-16F659715974}"/>
          </ac:spMkLst>
        </pc:spChg>
        <pc:spChg chg="mod ord topLvl">
          <ac:chgData name="vonWaldow, Ulrich" userId="c64b3fe1-2fbf-4408-adc4-30add62e991f" providerId="ADAL" clId="{B99A90B8-7D29-4456-AFD4-0F3DBA13A596}" dt="2024-09-02T13:35:01.179" v="109464" actId="164"/>
          <ac:spMkLst>
            <pc:docMk/>
            <pc:sldMk cId="294187832" sldId="1635"/>
            <ac:spMk id="5" creationId="{D1DE59F3-D253-F6BC-C15D-A7322E113412}"/>
          </ac:spMkLst>
        </pc:spChg>
        <pc:spChg chg="mod ord topLvl">
          <ac:chgData name="vonWaldow, Ulrich" userId="c64b3fe1-2fbf-4408-adc4-30add62e991f" providerId="ADAL" clId="{B99A90B8-7D29-4456-AFD4-0F3DBA13A596}" dt="2024-09-02T13:35:01.179" v="109464" actId="164"/>
          <ac:spMkLst>
            <pc:docMk/>
            <pc:sldMk cId="294187832" sldId="1635"/>
            <ac:spMk id="6" creationId="{8EE89EAB-3EA0-4FF1-A745-AC4A59760003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8" creationId="{CD40FEED-E967-B08C-33D6-412353F116E0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9" creationId="{96B1DAD3-5DF3-1941-E376-9A64CCB1CFFF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0" creationId="{BC1723DE-0AEA-7692-4BF7-020908FC4297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1" creationId="{84DC9C1E-4C45-E45F-3694-971CB3A0F8D3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2" creationId="{6404D10D-D555-2F3F-5271-F18A7A04DEE6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3" creationId="{C093B864-89CB-DC12-BBD3-4D14B6F1898D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4" creationId="{C50DAE48-09CF-551B-D9C2-DD0226DDBB5E}"/>
          </ac:spMkLst>
        </pc:spChg>
        <pc:spChg chg="mod topLvl">
          <ac:chgData name="vonWaldow, Ulrich" userId="c64b3fe1-2fbf-4408-adc4-30add62e991f" providerId="ADAL" clId="{B99A90B8-7D29-4456-AFD4-0F3DBA13A596}" dt="2024-09-02T13:33:56.503" v="109322" actId="164"/>
          <ac:spMkLst>
            <pc:docMk/>
            <pc:sldMk cId="294187832" sldId="1635"/>
            <ac:spMk id="16" creationId="{7A321964-11B4-98AE-9D9C-1CAD22D82B64}"/>
          </ac:spMkLst>
        </pc:spChg>
        <pc:spChg chg="mod topLvl">
          <ac:chgData name="vonWaldow, Ulrich" userId="c64b3fe1-2fbf-4408-adc4-30add62e991f" providerId="ADAL" clId="{B99A90B8-7D29-4456-AFD4-0F3DBA13A596}" dt="2024-09-02T13:33:56.503" v="109322" actId="164"/>
          <ac:spMkLst>
            <pc:docMk/>
            <pc:sldMk cId="294187832" sldId="1635"/>
            <ac:spMk id="17" creationId="{972A4BB1-5F66-44E5-A8D7-6F469134DC50}"/>
          </ac:spMkLst>
        </pc:spChg>
        <pc:spChg chg="add del mod topLvl">
          <ac:chgData name="vonWaldow, Ulrich" userId="c64b3fe1-2fbf-4408-adc4-30add62e991f" providerId="ADAL" clId="{B99A90B8-7D29-4456-AFD4-0F3DBA13A596}" dt="2024-09-02T13:30:14.553" v="109296" actId="478"/>
          <ac:spMkLst>
            <pc:docMk/>
            <pc:sldMk cId="294187832" sldId="1635"/>
            <ac:spMk id="18" creationId="{D7B52EEA-7BC2-6DF1-F20F-7D9FCFB3493E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19" creationId="{7575815A-08C0-CC40-6EB2-F14FF149CF80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0" creationId="{5960C861-69EB-81E3-F370-2B6DE020CBD5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1" creationId="{BA79A4D6-D25A-5825-278D-93C831853C7E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2" creationId="{567552E7-9ABA-3680-2D02-24C14878A213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3" creationId="{741895AB-48A1-266B-50AD-2A11DE83D724}"/>
          </ac:spMkLst>
        </pc:spChg>
        <pc:spChg chg="mod or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5" creationId="{F65C2733-291E-744D-85B3-2A672B10CBEE}"/>
          </ac:spMkLst>
        </pc:spChg>
        <pc:spChg chg="mod or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6" creationId="{4C7FF63F-0871-9225-E98B-3A1D5A07ABDC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8" creationId="{7E38B50A-F33F-644F-E289-850B06DF6175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9" creationId="{32B34F98-8DB5-0D81-6A34-1D614A2F8422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0" creationId="{02EB8BEC-F8E3-BAC8-A5FC-C190EDD4A687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1" creationId="{D72A7767-C0DD-0E81-8D4E-F32013C6713C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3" creationId="{0A8BA790-C717-CE6D-5BA9-9A3225895F4A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4" creationId="{84B2D344-EB66-599E-F64F-CF4B5799E9A5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5" creationId="{4095CEE2-E485-562F-FDCB-E6B055E3E8EA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6" creationId="{99F02B22-D40E-0C6C-4F6F-A5175DCA6AE0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7" creationId="{CA31A424-A506-DA42-F957-7E260D49E3CD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8" creationId="{5AC3D55B-58AC-9386-ACB8-600C31AA6A3F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9" creationId="{F2D124F4-034B-5DA3-B07E-C1C5CDB9DA02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0" creationId="{259E692D-742F-8229-E711-AD2C1A4E5EEE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1" creationId="{9A3250BD-F1AE-882D-A30D-348467195086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2" creationId="{1C183A5C-4D19-CB46-B2E0-585CFFD67949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3" creationId="{1D54A279-EBD9-3232-397B-5AAC3DDEF18E}"/>
          </ac:spMkLst>
        </pc:spChg>
        <pc:spChg chg="add del mod topLvl">
          <ac:chgData name="vonWaldow, Ulrich" userId="c64b3fe1-2fbf-4408-adc4-30add62e991f" providerId="ADAL" clId="{B99A90B8-7D29-4456-AFD4-0F3DBA13A596}" dt="2024-09-02T13:29:11.388" v="109272" actId="478"/>
          <ac:spMkLst>
            <pc:docMk/>
            <pc:sldMk cId="294187832" sldId="1635"/>
            <ac:spMk id="45" creationId="{503A4340-A09A-6619-9C77-B86B49C4554D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48" creationId="{B0856C15-0D41-9BE1-330B-6913035028B8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0" creationId="{3A378205-5F4D-C2D1-70CF-9B3960F312FE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1" creationId="{AC944E98-B776-FCFC-53BA-50CD2AC18B4E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2" creationId="{7550726B-F5DA-0DE1-707C-9B107B4C8F56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3" creationId="{64C7524C-0868-190C-4903-1B438154DC95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4" creationId="{7DE9C805-3138-234D-DE41-880123981C9B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6" creationId="{BA9DB4F5-919D-150B-85BF-C0E3767F6DED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7" creationId="{A239E89A-6FE5-6627-F710-A7571CA4B54A}"/>
          </ac:spMkLst>
        </pc:spChg>
        <pc:spChg chg="add del mod topLvl">
          <ac:chgData name="vonWaldow, Ulrich" userId="c64b3fe1-2fbf-4408-adc4-30add62e991f" providerId="ADAL" clId="{B99A90B8-7D29-4456-AFD4-0F3DBA13A596}" dt="2024-09-02T13:29:11.388" v="109272" actId="478"/>
          <ac:spMkLst>
            <pc:docMk/>
            <pc:sldMk cId="294187832" sldId="1635"/>
            <ac:spMk id="58" creationId="{D4840A98-9278-AD75-F9A8-FA74FA90DD38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0" creationId="{958C51FF-D143-E157-ECF5-DE119324790C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1" creationId="{E9C2FB84-C065-1A91-7377-A200A0BEA970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2" creationId="{65AED9A9-AA99-7065-22EF-07B94464B327}"/>
          </ac:spMkLst>
        </pc:spChg>
        <pc:spChg chg="add del">
          <ac:chgData name="vonWaldow, Ulrich" userId="c64b3fe1-2fbf-4408-adc4-30add62e991f" providerId="ADAL" clId="{B99A90B8-7D29-4456-AFD4-0F3DBA13A596}" dt="2024-09-02T13:31:27.729" v="109298" actId="478"/>
          <ac:spMkLst>
            <pc:docMk/>
            <pc:sldMk cId="294187832" sldId="1635"/>
            <ac:spMk id="69" creationId="{233BA88D-7E32-E6A2-5322-4D0046622509}"/>
          </ac:spMkLst>
        </pc:spChg>
        <pc:spChg chg="add del mod modVis">
          <ac:chgData name="vonWaldow, Ulrich" userId="c64b3fe1-2fbf-4408-adc4-30add62e991f" providerId="ADAL" clId="{B99A90B8-7D29-4456-AFD4-0F3DBA13A596}" dt="2024-09-02T13:34:06.440" v="109385"/>
          <ac:spMkLst>
            <pc:docMk/>
            <pc:sldMk cId="294187832" sldId="1635"/>
            <ac:spMk id="72" creationId="{74E16E76-CD85-FCBE-D7BC-0BCDABEF1173}"/>
          </ac:spMkLst>
        </pc:s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4" creationId="{E37A81B0-BE7A-009B-E70F-2787D90415EE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7" creationId="{DF70C2C3-DF73-7403-7F8E-8EFE5C5AFA23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15" creationId="{D359D6DD-63BA-9651-0F1A-E926BA904026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24" creationId="{3F9216EC-811D-8061-410E-A76D148F4FD5}"/>
          </ac:grpSpMkLst>
        </pc:grpChg>
        <pc:grpChg chg="del mod ord topLvl">
          <ac:chgData name="vonWaldow, Ulrich" userId="c64b3fe1-2fbf-4408-adc4-30add62e991f" providerId="ADAL" clId="{B99A90B8-7D29-4456-AFD4-0F3DBA13A596}" dt="2024-09-02T13:34:25.483" v="109390" actId="165"/>
          <ac:grpSpMkLst>
            <pc:docMk/>
            <pc:sldMk cId="294187832" sldId="1635"/>
            <ac:grpSpMk id="27" creationId="{11DC3111-E40F-A6F5-9F8E-6B2643DD04F3}"/>
          </ac:grpSpMkLst>
        </pc:grpChg>
        <pc:grpChg chg="del mod topLvl">
          <ac:chgData name="vonWaldow, Ulrich" userId="c64b3fe1-2fbf-4408-adc4-30add62e991f" providerId="ADAL" clId="{B99A90B8-7D29-4456-AFD4-0F3DBA13A596}" dt="2024-09-02T13:34:34.593" v="109391" actId="165"/>
          <ac:grpSpMkLst>
            <pc:docMk/>
            <pc:sldMk cId="294187832" sldId="1635"/>
            <ac:grpSpMk id="32" creationId="{BB677D48-4144-32CB-8F28-B46024B926FE}"/>
          </ac:grpSpMkLst>
        </pc:grpChg>
        <pc:grpChg chg="del">
          <ac:chgData name="vonWaldow, Ulrich" userId="c64b3fe1-2fbf-4408-adc4-30add62e991f" providerId="ADAL" clId="{B99A90B8-7D29-4456-AFD4-0F3DBA13A596}" dt="2024-09-02T13:28:04.978" v="109250" actId="165"/>
          <ac:grpSpMkLst>
            <pc:docMk/>
            <pc:sldMk cId="294187832" sldId="1635"/>
            <ac:grpSpMk id="44" creationId="{5C5B41D6-74A7-E1AB-9A9D-D9D6E0EF838A}"/>
          </ac:grpSpMkLst>
        </pc:grpChg>
        <pc:grpChg chg="add del mod topLvl">
          <ac:chgData name="vonWaldow, Ulrich" userId="c64b3fe1-2fbf-4408-adc4-30add62e991f" providerId="ADAL" clId="{B99A90B8-7D29-4456-AFD4-0F3DBA13A596}" dt="2024-09-02T13:33:15.478" v="109315" actId="478"/>
          <ac:grpSpMkLst>
            <pc:docMk/>
            <pc:sldMk cId="294187832" sldId="1635"/>
            <ac:grpSpMk id="46" creationId="{3B4A784A-55A7-0051-428B-FBF1B2E5F022}"/>
          </ac:grpSpMkLst>
        </pc:grpChg>
        <pc:grpChg chg="mod">
          <ac:chgData name="vonWaldow, Ulrich" userId="c64b3fe1-2fbf-4408-adc4-30add62e991f" providerId="ADAL" clId="{B99A90B8-7D29-4456-AFD4-0F3DBA13A596}" dt="2024-09-02T13:28:33.956" v="109266" actId="165"/>
          <ac:grpSpMkLst>
            <pc:docMk/>
            <pc:sldMk cId="294187832" sldId="1635"/>
            <ac:grpSpMk id="49" creationId="{47D04403-30A0-5E9E-46A7-50B0927AB1A5}"/>
          </ac:grpSpMkLst>
        </pc:grpChg>
        <pc:grpChg chg="add del mod topLvl">
          <ac:chgData name="vonWaldow, Ulrich" userId="c64b3fe1-2fbf-4408-adc4-30add62e991f" providerId="ADAL" clId="{B99A90B8-7D29-4456-AFD4-0F3DBA13A596}" dt="2024-09-02T13:33:16.941" v="109316" actId="478"/>
          <ac:grpSpMkLst>
            <pc:docMk/>
            <pc:sldMk cId="294187832" sldId="1635"/>
            <ac:grpSpMk id="55" creationId="{2282B29E-2D5D-6705-B923-C7E4F2726E41}"/>
          </ac:grpSpMkLst>
        </pc:grpChg>
        <pc:grpChg chg="add del mod topLvl">
          <ac:chgData name="vonWaldow, Ulrich" userId="c64b3fe1-2fbf-4408-adc4-30add62e991f" providerId="ADAL" clId="{B99A90B8-7D29-4456-AFD4-0F3DBA13A596}" dt="2024-09-02T13:29:19.399" v="109273" actId="165"/>
          <ac:grpSpMkLst>
            <pc:docMk/>
            <pc:sldMk cId="294187832" sldId="1635"/>
            <ac:grpSpMk id="59" creationId="{87698B28-07B9-A08B-EBAA-3ECF57056C00}"/>
          </ac:grpSpMkLst>
        </pc:grpChg>
        <pc:grpChg chg="add del mod">
          <ac:chgData name="vonWaldow, Ulrich" userId="c64b3fe1-2fbf-4408-adc4-30add62e991f" providerId="ADAL" clId="{B99A90B8-7D29-4456-AFD4-0F3DBA13A596}" dt="2024-09-02T13:28:33.956" v="109266" actId="165"/>
          <ac:grpSpMkLst>
            <pc:docMk/>
            <pc:sldMk cId="294187832" sldId="1635"/>
            <ac:grpSpMk id="63" creationId="{F85DF932-6C01-4EFF-79A9-8C4EF5E28F47}"/>
          </ac:grpSpMkLst>
        </pc:grpChg>
        <pc:grpChg chg="add mod">
          <ac:chgData name="vonWaldow, Ulrich" userId="c64b3fe1-2fbf-4408-adc4-30add62e991f" providerId="ADAL" clId="{B99A90B8-7D29-4456-AFD4-0F3DBA13A596}" dt="2024-09-02T13:33:56.503" v="109322" actId="164"/>
          <ac:grpSpMkLst>
            <pc:docMk/>
            <pc:sldMk cId="294187832" sldId="1635"/>
            <ac:grpSpMk id="64" creationId="{A0888461-5630-D790-6187-9155E7ACCA39}"/>
          </ac:grpSpMkLst>
        </pc:grpChg>
        <pc:grpChg chg="add mod">
          <ac:chgData name="vonWaldow, Ulrich" userId="c64b3fe1-2fbf-4408-adc4-30add62e991f" providerId="ADAL" clId="{B99A90B8-7D29-4456-AFD4-0F3DBA13A596}" dt="2024-09-02T13:28:39.916" v="109268" actId="164"/>
          <ac:grpSpMkLst>
            <pc:docMk/>
            <pc:sldMk cId="294187832" sldId="1635"/>
            <ac:grpSpMk id="65" creationId="{6686E393-25D1-8DD5-D142-CCADA25AE364}"/>
          </ac:grpSpMkLst>
        </pc:grpChg>
        <pc:grpChg chg="add del mod">
          <ac:chgData name="vonWaldow, Ulrich" userId="c64b3fe1-2fbf-4408-adc4-30add62e991f" providerId="ADAL" clId="{B99A90B8-7D29-4456-AFD4-0F3DBA13A596}" dt="2024-09-02T13:29:05.627" v="109271" actId="165"/>
          <ac:grpSpMkLst>
            <pc:docMk/>
            <pc:sldMk cId="294187832" sldId="1635"/>
            <ac:grpSpMk id="66" creationId="{45425B1C-0561-EA87-62FF-CF2532ACA073}"/>
          </ac:grpSpMkLst>
        </pc:grpChg>
        <pc:grpChg chg="add mod">
          <ac:chgData name="vonWaldow, Ulrich" userId="c64b3fe1-2fbf-4408-adc4-30add62e991f" providerId="ADAL" clId="{B99A90B8-7D29-4456-AFD4-0F3DBA13A596}" dt="2024-09-02T13:33:56.503" v="109322" actId="164"/>
          <ac:grpSpMkLst>
            <pc:docMk/>
            <pc:sldMk cId="294187832" sldId="1635"/>
            <ac:grpSpMk id="67" creationId="{15B2B095-0B25-9FB8-1247-BEFAFCEA8E02}"/>
          </ac:grpSpMkLst>
        </pc:grpChg>
        <pc:grpChg chg="add mod">
          <ac:chgData name="vonWaldow, Ulrich" userId="c64b3fe1-2fbf-4408-adc4-30add62e991f" providerId="ADAL" clId="{B99A90B8-7D29-4456-AFD4-0F3DBA13A596}" dt="2024-09-02T13:33:52.455" v="109321" actId="164"/>
          <ac:grpSpMkLst>
            <pc:docMk/>
            <pc:sldMk cId="294187832" sldId="1635"/>
            <ac:grpSpMk id="70" creationId="{6188EFAD-2690-A32D-1B16-02B19CC428FF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1" creationId="{ABB5F6DF-241C-A6A2-C8A4-22C05ECC2052}"/>
          </ac:grpSpMkLst>
        </pc:grpChg>
        <pc:grpChg chg="add mod">
          <ac:chgData name="vonWaldow, Ulrich" userId="c64b3fe1-2fbf-4408-adc4-30add62e991f" providerId="ADAL" clId="{B99A90B8-7D29-4456-AFD4-0F3DBA13A596}" dt="2024-09-02T13:34:53.961" v="109462" actId="164"/>
          <ac:grpSpMkLst>
            <pc:docMk/>
            <pc:sldMk cId="294187832" sldId="1635"/>
            <ac:grpSpMk id="73" creationId="{62EF3F7C-0F08-AD97-0AB5-CA9ECBD51DB8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4" creationId="{58FCDF03-568C-247A-EF73-F5DB984D73BB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5" creationId="{B6F4BF1E-620D-2D1B-7340-7416E2DAAAF5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6" creationId="{48E42D99-7ED9-7655-BF4C-699C4AFB0021}"/>
          </ac:grpSpMkLst>
        </pc:grpChg>
        <pc:grpChg chg="add mo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7" creationId="{27B23F7B-7CF9-1BF4-F454-030175D37E1C}"/>
          </ac:grpSpMkLst>
        </pc:grpChg>
        <pc:graphicFrameChg chg="mod">
          <ac:chgData name="vonWaldow, Ulrich" userId="c64b3fe1-2fbf-4408-adc4-30add62e991f" providerId="ADAL" clId="{B99A90B8-7D29-4456-AFD4-0F3DBA13A596}" dt="2024-09-02T13:35:17.375" v="109499"/>
          <ac:graphicFrameMkLst>
            <pc:docMk/>
            <pc:sldMk cId="294187832" sldId="1635"/>
            <ac:graphicFrameMk id="47" creationId="{BBB14FA5-D776-552A-06BB-9DE28F380CA8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57.628" v="111750"/>
        <pc:sldMkLst>
          <pc:docMk/>
          <pc:sldMk cId="1620060647" sldId="1636"/>
        </pc:sldMkLst>
        <pc:spChg chg="mod">
          <ac:chgData name="vonWaldow, Ulrich" userId="c64b3fe1-2fbf-4408-adc4-30add62e991f" providerId="ADAL" clId="{B99A90B8-7D29-4456-AFD4-0F3DBA13A596}" dt="2024-09-03T12:12:57.542" v="111687" actId="948"/>
          <ac:spMkLst>
            <pc:docMk/>
            <pc:sldMk cId="1620060647" sldId="1636"/>
            <ac:spMk id="2" creationId="{7DDCC87D-8462-1A5F-1283-30BA479D3825}"/>
          </ac:spMkLst>
        </pc:spChg>
        <pc:spChg chg="add del mod modVis">
          <ac:chgData name="vonWaldow, Ulrich" userId="c64b3fe1-2fbf-4408-adc4-30add62e991f" providerId="ADAL" clId="{B99A90B8-7D29-4456-AFD4-0F3DBA13A596}" dt="2024-09-03T12:12:57.626" v="111748"/>
          <ac:spMkLst>
            <pc:docMk/>
            <pc:sldMk cId="1620060647" sldId="1636"/>
            <ac:spMk id="4" creationId="{B1E2B15D-665F-5C72-5974-E8D5DE9DF1F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1" creationId="{4274DCFD-1B93-7BC9-A9C3-932DD841E06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2" creationId="{EEC20BD3-A169-1165-6832-262D20978A0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3" creationId="{1ABC0645-2380-23E2-D74C-1300BB947EF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4" creationId="{20439B09-7FA0-95EF-EB6B-8446D68036C8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5" creationId="{97ABF3A0-E618-2F39-1915-B88FF1B635E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6" creationId="{06FD02D2-ADDC-B067-E1D5-1C1916BAB8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7" creationId="{13E14A1E-6C43-24DE-21A2-D1B3D3D0644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8" creationId="{B80614CF-EBFB-EDAE-E3B4-18180BBB166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9" creationId="{3A675AEC-D6E2-4892-EE8B-A59627231EE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0" creationId="{27400797-7720-10EF-872F-1DF95170B7B9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1" creationId="{55F6285D-3C9F-DB24-4DE7-94A4AD31D65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2" creationId="{D9162716-C76A-DE90-934E-7AB4B7D0AA6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3" creationId="{92DA72A9-3556-BD54-73DB-4CB84F63488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4" creationId="{C27F4479-EC78-915E-CF32-E561973AA4F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5" creationId="{A6C695AB-1B18-F651-64BA-B947529FED3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7" creationId="{A87730C6-278C-C63C-AD94-E9A081F9B6F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8" creationId="{209CE0FA-B671-5B1B-7DF8-9DD9A1F74D6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9" creationId="{34FD9E54-47A1-2070-007D-153F984ABF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0" creationId="{09E42788-8CDE-4CF9-CC7C-C9AB473DCDF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1" creationId="{0F2DDAFD-5CFA-13EF-67D7-4B20BE7EECC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2" creationId="{62EEAD3D-8C6C-88ED-F74E-9E288767067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3" creationId="{BDF47D06-40A8-E9BA-68DA-D46A4B18A2D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4" creationId="{F5251D39-4D08-CF33-D184-1B40D3B41B5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5" creationId="{8DF47DEB-32D1-0E07-71C5-5BC2CF97A3B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6" creationId="{207F1878-29B5-A5BC-07E6-3F922A6C96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7" creationId="{8EE92107-9DD3-15AF-A1C0-E98A7FD40A7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8" creationId="{310EF12C-92E1-0E37-BF9D-BC516B3BF26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9" creationId="{C821358C-A198-EDD4-FA06-7985CE54D38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2" creationId="{934DEBC3-C979-CE26-B931-6CE7F094D9F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3" creationId="{549345DD-46F5-BD47-4A7F-16075DAA900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4" creationId="{4D9219F4-FAD1-E7B7-6B31-E279330C564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5" creationId="{D7B49571-896F-EF39-FEB7-8529505F249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6" creationId="{1B6D8160-E332-D6C7-9811-80B6617D97E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7" creationId="{4F3CBDF5-A937-4E04-7A02-D1BF3FCDC6A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8" creationId="{C92C5D8E-BA0E-E4C8-0CB2-FE2ACDDEA46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9" creationId="{8F31A16C-F2F3-9911-DB0D-AAB532AAC750}"/>
          </ac:spMkLst>
        </pc:spChg>
        <pc:grpChg chg="del">
          <ac:chgData name="vonWaldow, Ulrich" userId="c64b3fe1-2fbf-4408-adc4-30add62e991f" providerId="ADAL" clId="{B99A90B8-7D29-4456-AFD4-0F3DBA13A596}" dt="2024-09-02T13:36:05.018" v="109525" actId="478"/>
          <ac:grpSpMkLst>
            <pc:docMk/>
            <pc:sldMk cId="1620060647" sldId="1636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5" creationId="{1F5EE98F-7728-893A-AA5D-9831D4988DD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6" creationId="{923AA892-8BB9-ACEF-BBE4-87A2DA37CAEF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8" creationId="{D63FA888-9058-93C7-676C-1958FE18DAE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9" creationId="{5F538A95-24F1-2447-86D3-89BF1BBEB23B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50" creationId="{71343119-28BE-A0E7-9ECC-6A3D5ADF030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66" creationId="{E27F4CC6-CB0C-9944-AD58-844B64EE010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80" creationId="{047500FD-D83D-C01D-8E25-CF24CC39112D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81" creationId="{0CA17247-D291-639D-D649-50026E550813}"/>
          </ac:grpSpMkLst>
        </pc:grpChg>
        <pc:graphicFrameChg chg="mod">
          <ac:chgData name="vonWaldow, Ulrich" userId="c64b3fe1-2fbf-4408-adc4-30add62e991f" providerId="ADAL" clId="{B99A90B8-7D29-4456-AFD4-0F3DBA13A596}" dt="2024-09-03T12:12:57.628" v="111750"/>
          <ac:graphicFrameMkLst>
            <pc:docMk/>
            <pc:sldMk cId="1620060647" sldId="1636"/>
            <ac:graphicFrameMk id="47" creationId="{BBB14FA5-D776-552A-06BB-9DE28F380CA8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9:11.014" v="112312"/>
        <pc:sldMkLst>
          <pc:docMk/>
          <pc:sldMk cId="649673416" sldId="1640"/>
        </pc:sldMkLst>
        <pc:spChg chg="mod replST">
          <ac:chgData name="vonWaldow, Ulrich" userId="c64b3fe1-2fbf-4408-adc4-30add62e991f" providerId="ADAL" clId="{B99A90B8-7D29-4456-AFD4-0F3DBA13A596}" dt="2024-08-26T13:54:28.530" v="34310"/>
          <ac:spMkLst>
            <pc:docMk/>
            <pc:sldMk cId="649673416" sldId="1640"/>
            <ac:spMk id="20" creationId="{D590FC69-4115-3360-5A84-BCFFEFE53E92}"/>
          </ac:spMkLst>
        </pc:spChg>
        <pc:spChg chg="mod replST">
          <ac:chgData name="vonWaldow, Ulrich" userId="c64b3fe1-2fbf-4408-adc4-30add62e991f" providerId="ADAL" clId="{B99A90B8-7D29-4456-AFD4-0F3DBA13A596}" dt="2024-08-26T13:54:28.530" v="34308"/>
          <ac:spMkLst>
            <pc:docMk/>
            <pc:sldMk cId="649673416" sldId="1640"/>
            <ac:spMk id="23" creationId="{484D3421-3E44-1B91-04B4-D1BBA5C5EF17}"/>
          </ac:spMkLst>
        </pc:spChg>
        <pc:spChg chg="mod replST">
          <ac:chgData name="vonWaldow, Ulrich" userId="c64b3fe1-2fbf-4408-adc4-30add62e991f" providerId="ADAL" clId="{B99A90B8-7D29-4456-AFD4-0F3DBA13A596}" dt="2024-09-03T10:03:59.869" v="110201"/>
          <ac:spMkLst>
            <pc:docMk/>
            <pc:sldMk cId="649673416" sldId="1640"/>
            <ac:spMk id="115" creationId="{4AD54000-0B1D-8C8C-4C7F-C290C0772817}"/>
          </ac:spMkLst>
        </pc:spChg>
        <pc:spChg chg="mod replST">
          <ac:chgData name="vonWaldow, Ulrich" userId="c64b3fe1-2fbf-4408-adc4-30add62e991f" providerId="ADAL" clId="{B99A90B8-7D29-4456-AFD4-0F3DBA13A596}" dt="2024-09-03T12:02:36.968" v="110338"/>
          <ac:spMkLst>
            <pc:docMk/>
            <pc:sldMk cId="649673416" sldId="1640"/>
            <ac:spMk id="118" creationId="{B1B38C56-4118-1075-ACFE-E61C60F780A3}"/>
          </ac:spMkLst>
        </pc:spChg>
        <pc:spChg chg="mod replST">
          <ac:chgData name="vonWaldow, Ulrich" userId="c64b3fe1-2fbf-4408-adc4-30add62e991f" providerId="ADAL" clId="{B99A90B8-7D29-4456-AFD4-0F3DBA13A596}" dt="2024-09-03T12:02:36.967" v="110336"/>
          <ac:spMkLst>
            <pc:docMk/>
            <pc:sldMk cId="649673416" sldId="1640"/>
            <ac:spMk id="121" creationId="{32A968F5-7C95-1731-8167-37CD63D4E10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649673416" sldId="1640"/>
            <ac:spMk id="124" creationId="{B00BBAC4-805D-24CF-50E8-7E0E847862E9}"/>
          </ac:spMkLst>
        </pc:spChg>
        <pc:spChg chg="mod replST">
          <ac:chgData name="vonWaldow, Ulrich" userId="c64b3fe1-2fbf-4408-adc4-30add62e991f" providerId="ADAL" clId="{B99A90B8-7D29-4456-AFD4-0F3DBA13A596}" dt="2024-09-03T12:02:36.966" v="110334"/>
          <ac:spMkLst>
            <pc:docMk/>
            <pc:sldMk cId="649673416" sldId="1640"/>
            <ac:spMk id="125" creationId="{43AC1578-81E8-AF8A-93B4-707E7C69409B}"/>
          </ac:spMkLst>
        </pc:spChg>
        <pc:spChg chg="mod replST">
          <ac:chgData name="vonWaldow, Ulrich" userId="c64b3fe1-2fbf-4408-adc4-30add62e991f" providerId="ADAL" clId="{B99A90B8-7D29-4456-AFD4-0F3DBA13A596}" dt="2024-09-03T12:02:36.965" v="110332"/>
          <ac:spMkLst>
            <pc:docMk/>
            <pc:sldMk cId="649673416" sldId="1640"/>
            <ac:spMk id="128" creationId="{A0A4C01C-FCBC-83B7-4E9D-0EC91F190AA3}"/>
          </ac:spMkLst>
        </pc:spChg>
        <pc:spChg chg="mod replST">
          <ac:chgData name="vonWaldow, Ulrich" userId="c64b3fe1-2fbf-4408-adc4-30add62e991f" providerId="ADAL" clId="{B99A90B8-7D29-4456-AFD4-0F3DBA13A596}" dt="2024-09-03T12:29:11.014" v="112312"/>
          <ac:spMkLst>
            <pc:docMk/>
            <pc:sldMk cId="649673416" sldId="1640"/>
            <ac:spMk id="131" creationId="{2EC16547-984D-5C12-A6B5-824BB1CF25A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26" v="111746"/>
        <pc:sldMkLst>
          <pc:docMk/>
          <pc:sldMk cId="4138875213" sldId="1641"/>
        </pc:sldMkLst>
        <pc:spChg chg="mod">
          <ac:chgData name="vonWaldow, Ulrich" userId="c64b3fe1-2fbf-4408-adc4-30add62e991f" providerId="ADAL" clId="{B99A90B8-7D29-4456-AFD4-0F3DBA13A596}" dt="2024-09-03T12:12:57.521" v="111669" actId="948"/>
          <ac:spMkLst>
            <pc:docMk/>
            <pc:sldMk cId="4138875213" sldId="1641"/>
            <ac:spMk id="2" creationId="{7DDCC87D-8462-1A5F-1283-30BA479D3825}"/>
          </ac:spMkLst>
        </pc:spChg>
        <pc:spChg chg="add del mod modVis">
          <ac:chgData name="vonWaldow, Ulrich" userId="c64b3fe1-2fbf-4408-adc4-30add62e991f" providerId="ADAL" clId="{B99A90B8-7D29-4456-AFD4-0F3DBA13A596}" dt="2024-09-03T12:12:57.624" v="111744"/>
          <ac:spMkLst>
            <pc:docMk/>
            <pc:sldMk cId="4138875213" sldId="1641"/>
            <ac:spMk id="4" creationId="{3AF07789-AF10-7F74-70D3-96DBAE25768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1" creationId="{B8D16E70-5B77-400C-D340-AB4EBC4F6D5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2" creationId="{7CAB5A8A-8058-51F6-5623-35C1CBB6580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3" creationId="{06E1A706-C56E-420F-806B-BA034033E1AF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4" creationId="{15E9018A-F44A-1B00-0156-5894C76A5A0F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5" creationId="{AF828AD7-4F38-BB81-BAAB-4B2955DAA486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6" creationId="{8D8EE691-302C-5D12-3B85-D696A6E8060D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7" creationId="{7921C3FF-53A0-9630-3EEA-0457B71157A3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8" creationId="{711DF164-1C88-DB93-C8A6-39080B0B7286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9" creationId="{63134584-F823-6ED0-98D7-CF59438B318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0" creationId="{8CFF26A4-710D-519B-3CE7-AF78BC358257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1" creationId="{9A2E1B0D-244D-7ADD-8DFD-82AAB1A6A2D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2" creationId="{AD3ED86A-5E17-ED10-7D4A-D0D55A6E3D8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3" creationId="{841323BF-FAA2-FABF-804C-6DDCDC3DD0EA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4" creationId="{DE6A7509-9D29-933A-8F36-0667B0FAD91C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5" creationId="{5967229A-B7F2-9663-16D3-9DF87979C5B5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7" creationId="{AAD822C8-6E38-B3A0-152E-E5BF7AA58D9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8" creationId="{D65C7EAF-4757-815E-E5D1-1D83EB96DAF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9" creationId="{2CECAFB7-F3B0-09F4-178E-6B49F5309F75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0" creationId="{9E1E4E44-30DA-D349-35BA-F5B2F1075E1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1" creationId="{E7B71D4B-8FF3-89B6-E73B-24258005323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2" creationId="{C1EBACEC-8792-163F-6C8C-F3D47C10AD2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3" creationId="{C39DA100-802C-E80D-8B13-1B8897EBBA7B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4" creationId="{1981D6A1-AE48-B352-6577-C4D08EEB35A0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5" creationId="{EF33E400-AABB-A297-9672-62CF2D623FA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6" creationId="{90D92D8C-2C1E-579F-1B50-9880FE11730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7" creationId="{2137A675-6299-0A00-44F8-93A1AB4D677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8" creationId="{40FD6099-5B01-68BE-4D7A-A6A1297883A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9" creationId="{CB14F5BC-18AD-A1B1-6242-8133607785C1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2" creationId="{3F9659E1-73C5-4B30-7EF1-6E804BCC992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3" creationId="{11373140-956E-965F-938D-024565DA31F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4" creationId="{F92AF9D1-DF3A-1ECB-CCE4-340E61EE37E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5" creationId="{29668D3A-A575-8C87-D998-603146DAC17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6" creationId="{216CEDC2-E0C8-965F-3CA5-7E9B799F1D5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7" creationId="{519F2C0B-3DC8-F852-58FF-5B7D8652A9CA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8" creationId="{53009493-C2A7-4B67-EF90-547F6B37F4F3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9" creationId="{88A9EF83-B146-50C0-9308-6C4D3896FA8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5" creationId="{3EA90B4D-5748-D26D-3F71-99E87B44185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6" creationId="{343E15FF-5885-3501-AB01-EB2AA45CE32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7" creationId="{B4B635A8-007A-F562-6E09-8C5FF444C3B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8" creationId="{5CD49D8F-B507-471B-7E04-9D6A3DB5811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9" creationId="{D4F61D6B-406D-3500-F704-F4C4F09BF1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0" creationId="{77BEA7E6-6790-C9A9-513F-0A3BF21C753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1" creationId="{760BF327-55C5-E784-AAED-AABD3D789D4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2" creationId="{6A4524AD-0EA1-31BF-F236-441D95C449A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3" creationId="{E6530B7E-BA8E-8342-F46E-ED265B95EE5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4" creationId="{75339D5F-253D-AA4C-7DFA-8493DFB5BDD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5" creationId="{64949084-2F18-DC9F-10EE-BC164D5BF84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6" creationId="{8F12C883-54D4-7771-0D76-1511DF0CD5F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7" creationId="{64DBB926-5A38-B6D4-82AC-11DC4A85E8E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8" creationId="{1DE7143C-D978-0016-D29F-56A3B63447A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9" creationId="{B575F20A-63D4-7735-845D-8ACC9957B798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1" creationId="{053683F7-0CCF-0506-885A-FC0AFFE3184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2" creationId="{E1D7A9AB-3CC7-6EEA-23A0-0CFCDE4FEFC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3" creationId="{C4EA579B-5BA1-A5CF-60CC-81BFCF85BFE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4" creationId="{15F06136-648B-37EA-D294-45B627F4C11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5" creationId="{7296413A-3616-11CF-D2F0-A2599FE37AB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6" creationId="{D64FBC20-A7E3-34C0-AE8E-478B601A958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7" creationId="{F08A127B-8491-3BB5-97B1-AE1123E0313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8" creationId="{0C1A60E7-32A4-04E0-2A37-7548925F3EF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9" creationId="{ED50AF51-3D94-271C-F98C-D33D5CCC4E7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0" creationId="{521260E8-735F-3A92-316F-28338C53CD0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1" creationId="{F4D9F507-17D4-081B-344B-F24E8B3F335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2" creationId="{9E92CCC2-6AC2-4671-324F-26C6A535677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3" creationId="{74D8352A-1822-0C59-7B1A-5553F3610CB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6" creationId="{BF0F8D20-E898-B0F3-956D-C92C83E5384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7" creationId="{D97A4DDE-AC7D-5A58-187D-6FE2340A1D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8" creationId="{159EE8D4-F898-3BF7-EAC7-5962E6BB8C9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9" creationId="{A65E991E-8655-4760-51AB-C5A1BAA3369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0" creationId="{35AB2E4F-D600-8800-9AB9-7229AE61FC4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1" creationId="{1A3A1DFA-005B-E87B-6D63-88CD03CCB1B9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2" creationId="{B21AB020-073A-AF6F-3DC1-0E0934F68A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3" creationId="{B7EF35C2-D12C-C2BD-58BB-C1E0BC687B94}"/>
          </ac:spMkLst>
        </pc:spChg>
        <pc:grpChg chg="add del">
          <ac:chgData name="vonWaldow, Ulrich" userId="c64b3fe1-2fbf-4408-adc4-30add62e991f" providerId="ADAL" clId="{B99A90B8-7D29-4456-AFD4-0F3DBA13A596}" dt="2024-09-02T13:36:31.481" v="109537" actId="478"/>
          <ac:grpSpMkLst>
            <pc:docMk/>
            <pc:sldMk cId="4138875213" sldId="1641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5" creationId="{D95E3409-8257-0BED-A0C1-76BC14132B85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6" creationId="{48A73E0B-9187-C6AA-BA1C-AC921BDF07AF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8" creationId="{3BEB6AF8-0058-9710-8464-3987BA4EA7F9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9" creationId="{6EF03C51-74B8-653B-DDB9-A8F98ED0BAAB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50" creationId="{22EBA0AA-36C4-EE98-91B6-8899B84B0133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66" creationId="{B4CAB669-BCC4-2130-BBD3-938ED2F3BFFC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80" creationId="{75991337-91C7-0F5D-33F5-56BF003AAA51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81" creationId="{86D45804-B6D6-2234-5A25-0BB6F6A78E8E}"/>
          </ac:grpSpMkLst>
        </pc:grpChg>
        <pc:grpChg chg="add 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0" creationId="{E5402ADE-36C4-28F9-438B-AE675CC49886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1" creationId="{D60AB191-6682-035D-1A3C-0C03C1E34DC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2" creationId="{6125D3C9-E09C-7CE5-5D4A-DB20B991AEA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3" creationId="{AE55AAFF-CB3D-0691-312D-4BD91696AAB2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4" creationId="{CDD10539-117F-6AC5-D1F7-D194DAACEA1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10" creationId="{280D7BFC-A467-25AF-CB00-01236240813F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24" creationId="{72119FE2-77DC-EFC9-2253-BC3D875174C8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25" creationId="{76BC6341-D91F-B7E5-05D1-C0A896AFDA95}"/>
          </ac:grpSpMkLst>
        </pc:grpChg>
        <pc:graphicFrameChg chg="mod">
          <ac:chgData name="vonWaldow, Ulrich" userId="c64b3fe1-2fbf-4408-adc4-30add62e991f" providerId="ADAL" clId="{B99A90B8-7D29-4456-AFD4-0F3DBA13A596}" dt="2024-09-03T12:12:57.626" v="111746"/>
          <ac:graphicFrameMkLst>
            <pc:docMk/>
            <pc:sldMk cId="4138875213" sldId="1641"/>
            <ac:graphicFrameMk id="47" creationId="{BBB14FA5-D776-552A-06BB-9DE28F380CA8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583437470" sldId="1647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2" creationId="{7DDCC87D-8462-1A5F-1283-30BA479D382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1" creationId="{B4B12AB8-79CC-A83F-2404-5AF2E012805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2" creationId="{A02455FC-064F-08DD-D6AA-3FF2CFFE313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3" creationId="{EFB74FF2-E69B-9DDF-6E5E-C6C7F07E2B7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4" creationId="{DC69E97A-3BAB-0B2E-54FF-A73E76CDAB86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5" creationId="{3B7C93E0-A94F-DFBF-7FB8-7996A93FF48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6" creationId="{799CD509-FD2C-77A3-85B1-ADBD2657AD97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7" creationId="{7AC49E5A-C665-5F3C-817C-BEE8C26C465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8" creationId="{B6337894-9A10-B9D4-7551-32874FFF761A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59" creationId="{763A8253-DBA3-50FB-14F3-46E1E5AD88EB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0" creationId="{F17F8073-FFDB-DBB5-BE9A-005B0911C173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1" creationId="{B10F5488-5555-F3AC-5CF1-3C1486F84F7F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2" creationId="{0DB5E94F-CC2E-4E17-8976-5A2384977907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3" creationId="{BA5C07B6-E254-BC5C-EB46-C0C58AB0918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4" creationId="{CE8A05DD-742C-B53A-CC50-2D08973C310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5" creationId="{0CC9F284-C546-5BB2-B20D-5C591F43CCB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7" creationId="{E8094AE6-65A2-B70D-7AC7-21E00363B7C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8" creationId="{A22E4549-BE42-6D55-EBAA-265414ADD15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9" creationId="{932C8924-82C8-8AC8-56A4-52477BB4083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0" creationId="{0D8D9D2C-5403-CB09-78E2-C7AC6C6D80A4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1" creationId="{6AC4BE2B-78E7-4BC1-528E-FF549EB3D1A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2" creationId="{4B81BC19-BBB3-28D3-3C34-825BD44177D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3" creationId="{2EBC6729-0156-EA2A-A80A-48A953E5003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4" creationId="{AEB56565-F412-D32F-7476-7DA66BB1034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5" creationId="{E4358A58-20CC-0073-2F3F-F114B6C00BA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6" creationId="{2684A401-5D20-3E92-E2B0-0928FB90078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7" creationId="{912596AD-870E-DDDE-AF02-9730BBE30137}"/>
          </ac:spMkLst>
        </pc:spChg>
        <pc:spChg chg="mod">
          <ac:chgData name="vonWaldow, Ulrich" userId="c64b3fe1-2fbf-4408-adc4-30add62e991f" providerId="ADAL" clId="{B99A90B8-7D29-4456-AFD4-0F3DBA13A596}" dt="2024-09-02T13:36:43.152" v="109544"/>
          <ac:spMkLst>
            <pc:docMk/>
            <pc:sldMk cId="3583437470" sldId="1647"/>
            <ac:spMk id="78" creationId="{CC145ADD-9DB5-FB66-D1D8-A4EB300B938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79" creationId="{7CA6968F-7152-CFC2-F764-5FD8E3E8314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2" creationId="{54AE7CDE-2A69-1C9E-46E4-D8A65959AE9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3" creationId="{699660E3-FAD5-755A-F88F-0D8ED70CA94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4" creationId="{63873758-1EB3-6AC6-07A1-6BC9839F954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5" creationId="{668D4D4C-CA8D-6F20-FEB2-8DB466F32F7F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6" creationId="{47E51817-D145-443E-F4E6-178BD4469C0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7" creationId="{933CB3E2-D2BE-FE22-FE80-6643872580D3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8" creationId="{F76D98DA-E6E1-5B94-AC63-5198527A662B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9" creationId="{76DFE4F8-69E0-7583-3272-722C289232FB}"/>
          </ac:spMkLst>
        </pc:spChg>
        <pc:grpChg chg="del">
          <ac:chgData name="vonWaldow, Ulrich" userId="c64b3fe1-2fbf-4408-adc4-30add62e991f" providerId="ADAL" clId="{B99A90B8-7D29-4456-AFD4-0F3DBA13A596}" dt="2024-09-02T13:36:40.020" v="109541" actId="478"/>
          <ac:grpSpMkLst>
            <pc:docMk/>
            <pc:sldMk cId="3583437470" sldId="1647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5" creationId="{1660E3B3-4D55-6357-7919-A4F3005732C4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6" creationId="{3612757B-9AE9-DD70-7228-C8C7D0F7572C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8" creationId="{26AB647C-4DCD-0B73-5E53-3B92F63FD208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9" creationId="{FC63C714-0BF6-BE37-2EC8-4D1FB00A680E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50" creationId="{FA01D375-6DA2-3C03-C956-BD2B242EB78D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66" creationId="{BFADC7E9-6FF6-8CB3-1355-85FE5C434B2D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80" creationId="{69FFA8F6-F018-07F2-1992-0E75A71299CA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81" creationId="{31B6020A-64B6-DD01-93E2-73EA8B78C522}"/>
          </ac:grpSpMkLst>
        </pc:grpChg>
      </pc:sldChg>
      <pc:sldChg chg="new del">
        <pc:chgData name="vonWaldow, Ulrich" userId="c64b3fe1-2fbf-4408-adc4-30add62e991f" providerId="ADAL" clId="{B99A90B8-7D29-4456-AFD4-0F3DBA13A596}" dt="2024-08-26T08:53:20.063" v="166" actId="47"/>
        <pc:sldMkLst>
          <pc:docMk/>
          <pc:sldMk cId="832163780" sldId="1648"/>
        </pc:sldMkLst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4032244945" sldId="1649"/>
        </pc:sldMkLst>
        <pc:spChg chg="mod">
          <ac:chgData name="vonWaldow, Ulrich" userId="c64b3fe1-2fbf-4408-adc4-30add62e991f" providerId="ADAL" clId="{B99A90B8-7D29-4456-AFD4-0F3DBA13A596}" dt="2024-08-26T08:53:32.469" v="197"/>
          <ac:spMkLst>
            <pc:docMk/>
            <pc:sldMk cId="4032244945" sldId="1649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6:00.643" v="104972" actId="478"/>
          <ac:spMkLst>
            <pc:docMk/>
            <pc:sldMk cId="4032244945" sldId="1649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032244945" sldId="1649"/>
            <ac:spMk id="23" creationId="{778E1A47-D0D0-FF16-8037-D513034A933C}"/>
          </ac:spMkLst>
        </pc:spChg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3673626415" sldId="1650"/>
        </pc:sldMkLst>
        <pc:spChg chg="mod">
          <ac:chgData name="vonWaldow, Ulrich" userId="c64b3fe1-2fbf-4408-adc4-30add62e991f" providerId="ADAL" clId="{B99A90B8-7D29-4456-AFD4-0F3DBA13A596}" dt="2024-08-26T08:53:44.189" v="225"/>
          <ac:spMkLst>
            <pc:docMk/>
            <pc:sldMk cId="3673626415" sldId="1650"/>
            <ac:spMk id="7" creationId="{E31828AF-0DB2-F421-B3A4-53BB55565B46}"/>
          </ac:spMkLst>
        </pc:spChg>
        <pc:spChg chg="mod">
          <ac:chgData name="vonWaldow, Ulrich" userId="c64b3fe1-2fbf-4408-adc4-30add62e991f" providerId="ADAL" clId="{B99A90B8-7D29-4456-AFD4-0F3DBA13A596}" dt="2024-08-26T08:53:54.907" v="231"/>
          <ac:spMkLst>
            <pc:docMk/>
            <pc:sldMk cId="3673626415" sldId="1650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5:57.232" v="104971" actId="478"/>
          <ac:spMkLst>
            <pc:docMk/>
            <pc:sldMk cId="3673626415" sldId="1650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73626415" sldId="1650"/>
            <ac:spMk id="23" creationId="{778E1A47-D0D0-FF16-8037-D513034A933C}"/>
          </ac:spMkLst>
        </pc:spChg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1966450724" sldId="1651"/>
        </pc:sldMkLst>
        <pc:spChg chg="mod">
          <ac:chgData name="vonWaldow, Ulrich" userId="c64b3fe1-2fbf-4408-adc4-30add62e991f" providerId="ADAL" clId="{B99A90B8-7D29-4456-AFD4-0F3DBA13A596}" dt="2024-08-26T08:53:52.500" v="229"/>
          <ac:spMkLst>
            <pc:docMk/>
            <pc:sldMk cId="1966450724" sldId="1651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5:52.777" v="104970" actId="478"/>
          <ac:spMkLst>
            <pc:docMk/>
            <pc:sldMk cId="1966450724" sldId="1651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8-26T08:53:48.787" v="227"/>
          <ac:spMkLst>
            <pc:docMk/>
            <pc:sldMk cId="1966450724" sldId="1651"/>
            <ac:spMk id="17" creationId="{D303FF76-D0A0-8B6E-A68C-B103A2A3DE4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966450724" sldId="1651"/>
            <ac:spMk id="23" creationId="{778E1A47-D0D0-FF16-8037-D513034A933C}"/>
          </ac:spMkLst>
        </pc:spChg>
      </pc:sldChg>
      <pc:sldChg chg="addSp delSp modSp new del mod modClrScheme chgLayout">
        <pc:chgData name="vonWaldow, Ulrich" userId="c64b3fe1-2fbf-4408-adc4-30add62e991f" providerId="ADAL" clId="{B99A90B8-7D29-4456-AFD4-0F3DBA13A596}" dt="2024-08-26T09:06:51.408" v="815" actId="47"/>
        <pc:sldMkLst>
          <pc:docMk/>
          <pc:sldMk cId="3711987300" sldId="1652"/>
        </pc:sldMkLst>
        <pc:spChg chg="mod ord">
          <ac:chgData name="vonWaldow, Ulrich" userId="c64b3fe1-2fbf-4408-adc4-30add62e991f" providerId="ADAL" clId="{B99A90B8-7D29-4456-AFD4-0F3DBA13A596}" dt="2024-08-26T08:57:33.996" v="398" actId="948"/>
          <ac:spMkLst>
            <pc:docMk/>
            <pc:sldMk cId="3711987300" sldId="1652"/>
            <ac:spMk id="2" creationId="{EA1B83F9-E975-A37E-55A0-5A2849922A2E}"/>
          </ac:spMkLst>
        </pc:spChg>
        <pc:spChg chg="add 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" creationId="{6F05E2C2-48B4-963D-AC62-2339DFE2B29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5" creationId="{48EDD123-9988-156E-B47F-05AA69FD33F9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6" creationId="{079B5D3F-21A4-95DD-669D-5143C37F829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7" creationId="{2FEAA552-F31F-5DEC-DD33-C97216EC5C9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8" creationId="{BDB8C477-D29A-C9BF-7FCE-F4758D4E97C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9" creationId="{F1E6084F-E3D3-C823-FC5C-1909D5E61A7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0" creationId="{69F59743-F2E3-5251-08DB-F84C3FDE0F9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1" creationId="{0AA0CF41-0E81-9601-6992-D8C6E3A7649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2" creationId="{789D3A19-1EC6-672C-3B9E-8521B80148E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3" creationId="{F078E1AF-166A-11AB-C2D0-C66180A25A7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4" creationId="{70F408E1-B32E-5ADF-2A5F-1296094301E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5" creationId="{3CB4E987-5980-C4EE-2C3B-62C43DBAAF9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2" creationId="{8F52E5CE-0EFD-D55C-A917-BCB637B82BD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3" creationId="{8A5DD099-65FA-0841-ED58-13027CB777C8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4" creationId="{DFA0AE16-C3D5-9FC5-154F-60D0527993B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5" creationId="{E0F1FF7C-28EE-B6EF-6144-A8481C5CDE1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6" creationId="{54872CC0-57E3-ECF3-A134-DFF54D5060D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7" creationId="{AE7548C6-921E-7277-C818-8B35EA7C419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8" creationId="{98AFC496-5662-D4B3-EC7F-7E5601C8A8E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9" creationId="{84CE9E83-6050-40A2-C424-368BD78B1AA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0" creationId="{0301D36F-D9D9-9E0E-4E93-71EFD16DD9BD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1" creationId="{EE61330A-27EA-0709-6067-5946A50AEF2B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2" creationId="{0EB8AB48-3B95-7D4D-DDBD-23C9F3F7231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3" creationId="{D516EF25-E955-A59B-C381-53D7254780A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4" creationId="{B6A15302-B010-F4F1-F3E4-876AE7776DE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5" creationId="{F973E2B9-31AC-C9FB-EF8E-707A1A6880B6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6" creationId="{AFD33BD9-3E2A-9116-4AFB-AED7458EDDC8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7" creationId="{75226E34-61BF-601D-03A8-22B3546EDFF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8" creationId="{609E37A4-CA87-5F1A-8348-FFDA517670E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9" creationId="{13CEC6E5-F35E-0248-D27D-79A30523FCE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0" creationId="{9583468C-7631-CE72-C3F4-6EE8B9BFF7B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1" creationId="{27CC03B6-EFEC-37CD-9B7F-9F3A84AA7F0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2" creationId="{8F9245A6-26DE-260F-E012-E8504445A71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3" creationId="{6FED8D38-F80D-012D-DF8B-188C572247A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4" creationId="{5FC8AFC3-D7CD-2076-F3BF-729CA9FCE21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5" creationId="{C780847C-C945-A2A9-933D-836F1C5E9509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6" creationId="{68C77B54-A1AA-4AD1-B1AA-2791E4281E8F}"/>
          </ac:spMkLst>
        </pc:spChg>
        <pc:spChg chg="add del mod">
          <ac:chgData name="vonWaldow, Ulrich" userId="c64b3fe1-2fbf-4408-adc4-30add62e991f" providerId="ADAL" clId="{B99A90B8-7D29-4456-AFD4-0F3DBA13A596}" dt="2024-08-26T08:56:08.150" v="235" actId="478"/>
          <ac:spMkLst>
            <pc:docMk/>
            <pc:sldMk cId="3711987300" sldId="1652"/>
            <ac:spMk id="47" creationId="{070E08BE-BF56-C4CF-423D-0580D00C04B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49" creationId="{AEAA37CE-7E53-3E12-D0E3-CEB94F09F1A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0" creationId="{4079F416-752B-F741-D688-D0E0C1F94444}"/>
          </ac:spMkLst>
        </pc:spChg>
        <pc:spChg chg="mod topLvl">
          <ac:chgData name="vonWaldow, Ulrich" userId="c64b3fe1-2fbf-4408-adc4-30add62e991f" providerId="ADAL" clId="{B99A90B8-7D29-4456-AFD4-0F3DBA13A596}" dt="2024-08-26T08:56:33.909" v="264" actId="20577"/>
          <ac:spMkLst>
            <pc:docMk/>
            <pc:sldMk cId="3711987300" sldId="1652"/>
            <ac:spMk id="51" creationId="{1F31AB0D-F476-37D3-FABB-32FB45E523F7}"/>
          </ac:spMkLst>
        </pc:spChg>
        <pc:spChg chg="del mod topLvl">
          <ac:chgData name="vonWaldow, Ulrich" userId="c64b3fe1-2fbf-4408-adc4-30add62e991f" providerId="ADAL" clId="{B99A90B8-7D29-4456-AFD4-0F3DBA13A596}" dt="2024-08-26T08:56:31.065" v="262" actId="478"/>
          <ac:spMkLst>
            <pc:docMk/>
            <pc:sldMk cId="3711987300" sldId="1652"/>
            <ac:spMk id="52" creationId="{9E4482D8-25B7-D51D-6C3B-63F95C611A4B}"/>
          </ac:spMkLst>
        </pc:spChg>
        <pc:spChg chg="mod topLvl">
          <ac:chgData name="vonWaldow, Ulrich" userId="c64b3fe1-2fbf-4408-adc4-30add62e991f" providerId="ADAL" clId="{B99A90B8-7D29-4456-AFD4-0F3DBA13A596}" dt="2024-08-26T08:56:42.259" v="269"/>
          <ac:spMkLst>
            <pc:docMk/>
            <pc:sldMk cId="3711987300" sldId="1652"/>
            <ac:spMk id="53" creationId="{A903E8A4-88A0-0601-7625-13947623FADD}"/>
          </ac:spMkLst>
        </pc:spChg>
        <pc:spChg chg="del mod topLvl">
          <ac:chgData name="vonWaldow, Ulrich" userId="c64b3fe1-2fbf-4408-adc4-30add62e991f" providerId="ADAL" clId="{B99A90B8-7D29-4456-AFD4-0F3DBA13A596}" dt="2024-08-26T08:56:40.777" v="268" actId="478"/>
          <ac:spMkLst>
            <pc:docMk/>
            <pc:sldMk cId="3711987300" sldId="1652"/>
            <ac:spMk id="54" creationId="{A6331F0F-A67B-E5C8-E0E0-4C0B1CD4854F}"/>
          </ac:spMkLst>
        </pc:spChg>
        <pc:spChg chg="mod topLvl">
          <ac:chgData name="vonWaldow, Ulrich" userId="c64b3fe1-2fbf-4408-adc4-30add62e991f" providerId="ADAL" clId="{B99A90B8-7D29-4456-AFD4-0F3DBA13A596}" dt="2024-08-26T08:57:03.462" v="273" actId="207"/>
          <ac:spMkLst>
            <pc:docMk/>
            <pc:sldMk cId="3711987300" sldId="1652"/>
            <ac:spMk id="55" creationId="{29179AF7-233F-F9BF-F11A-EC5E8C2FAB4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6" creationId="{3A843707-074B-21F1-F41C-19DF2CCEFA18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7" creationId="{80B0D630-654E-4055-8491-2E20E9525C33}"/>
          </ac:spMkLst>
        </pc:spChg>
        <pc:spChg chg="mod topLvl">
          <ac:chgData name="vonWaldow, Ulrich" userId="c64b3fe1-2fbf-4408-adc4-30add62e991f" providerId="ADAL" clId="{B99A90B8-7D29-4456-AFD4-0F3DBA13A596}" dt="2024-08-26T08:56:54.352" v="271" actId="207"/>
          <ac:spMkLst>
            <pc:docMk/>
            <pc:sldMk cId="3711987300" sldId="1652"/>
            <ac:spMk id="58" creationId="{7C56E157-D36D-08DB-622B-075CA08E6FBB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9" creationId="{CEA2CA38-6596-4AEF-BE14-731F2AF0C7B1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6" creationId="{DE31F435-F01E-1DAD-742E-11E89FA2E59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7" creationId="{6E89460B-69CD-5562-832F-71157FEDFA71}"/>
          </ac:spMkLst>
        </pc:spChg>
        <pc:spChg chg="mod topLvl">
          <ac:chgData name="vonWaldow, Ulrich" userId="c64b3fe1-2fbf-4408-adc4-30add62e991f" providerId="ADAL" clId="{B99A90B8-7D29-4456-AFD4-0F3DBA13A596}" dt="2024-08-26T08:56:47.377" v="270" actId="207"/>
          <ac:spMkLst>
            <pc:docMk/>
            <pc:sldMk cId="3711987300" sldId="1652"/>
            <ac:spMk id="68" creationId="{67439D25-17D3-067D-B85D-6C2F27027B1E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9" creationId="{07B3B4DF-1AE0-0AE6-2355-3F1F7D69478F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0" creationId="{DA5FE52E-D670-FBD9-7620-E97936CBBE60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1" creationId="{7F81D88A-2E90-6B79-3497-F13B62369CEA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2" creationId="{9510F6C9-6DCB-AEBE-23AA-CA684C1E3CE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3" creationId="{80CBDCB9-C548-E13C-03C4-F3DDE94F0F2E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4" creationId="{779F83F2-946E-BB82-FFB3-3E5C0496AF89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5" creationId="{32ADACAF-11AF-BB07-83FA-C9F8F9C9FC0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6" creationId="{0EFB476D-24AA-6E7C-AFF7-C7636A5E711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7" creationId="{9F9E1292-9431-B61C-A1BA-F9EF5C91B672}"/>
          </ac:spMkLst>
        </pc:spChg>
        <pc:spChg chg="mod topLvl">
          <ac:chgData name="vonWaldow, Ulrich" userId="c64b3fe1-2fbf-4408-adc4-30add62e991f" providerId="ADAL" clId="{B99A90B8-7D29-4456-AFD4-0F3DBA13A596}" dt="2024-08-26T08:56:38.914" v="267" actId="20577"/>
          <ac:spMkLst>
            <pc:docMk/>
            <pc:sldMk cId="3711987300" sldId="1652"/>
            <ac:spMk id="78" creationId="{ED602C4F-26B7-F133-C852-16B2FC79259D}"/>
          </ac:spMkLst>
        </pc:spChg>
        <pc:spChg chg="del mod topLvl">
          <ac:chgData name="vonWaldow, Ulrich" userId="c64b3fe1-2fbf-4408-adc4-30add62e991f" providerId="ADAL" clId="{B99A90B8-7D29-4456-AFD4-0F3DBA13A596}" dt="2024-08-26T08:56:35.783" v="265" actId="478"/>
          <ac:spMkLst>
            <pc:docMk/>
            <pc:sldMk cId="3711987300" sldId="1652"/>
            <ac:spMk id="79" creationId="{7019ECC6-BBDF-CFB1-70F5-6592493E589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0" creationId="{2F7B06AE-F9AE-56FC-09E3-51387B705BF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1" creationId="{82F17D99-4969-CB8C-26B2-66F8437C8A38}"/>
          </ac:spMkLst>
        </pc:spChg>
        <pc:spChg chg="mod topLvl">
          <ac:chgData name="vonWaldow, Ulrich" userId="c64b3fe1-2fbf-4408-adc4-30add62e991f" providerId="ADAL" clId="{B99A90B8-7D29-4456-AFD4-0F3DBA13A596}" dt="2024-08-26T08:57:52.908" v="426" actId="14100"/>
          <ac:spMkLst>
            <pc:docMk/>
            <pc:sldMk cId="3711987300" sldId="1652"/>
            <ac:spMk id="82" creationId="{AC5DE249-8096-22C7-27AC-CB7C5E298836}"/>
          </ac:spMkLst>
        </pc:spChg>
        <pc:spChg chg="mod topLvl">
          <ac:chgData name="vonWaldow, Ulrich" userId="c64b3fe1-2fbf-4408-adc4-30add62e991f" providerId="ADAL" clId="{B99A90B8-7D29-4456-AFD4-0F3DBA13A596}" dt="2024-08-26T08:57:49.505" v="424" actId="14100"/>
          <ac:spMkLst>
            <pc:docMk/>
            <pc:sldMk cId="3711987300" sldId="1652"/>
            <ac:spMk id="83" creationId="{F61BECEB-B6F0-D2D1-EC6D-BE40C7703C92}"/>
          </ac:spMkLst>
        </pc:spChg>
        <pc:spChg chg="mod topLvl">
          <ac:chgData name="vonWaldow, Ulrich" userId="c64b3fe1-2fbf-4408-adc4-30add62e991f" providerId="ADAL" clId="{B99A90B8-7D29-4456-AFD4-0F3DBA13A596}" dt="2024-08-26T08:57:46.511" v="423"/>
          <ac:spMkLst>
            <pc:docMk/>
            <pc:sldMk cId="3711987300" sldId="1652"/>
            <ac:spMk id="84" creationId="{08F2465A-0108-5021-7D2E-9FBA1CE88EE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5" creationId="{78FAE089-F4B7-BB0A-8E32-21D5532C58D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6" creationId="{975E26F2-60B6-3F2A-BF5A-742B453F0837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7" creationId="{6A52654B-F825-9988-6175-CDD8C4FC47A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8" creationId="{4B49F66D-9B85-42DA-23EF-AE3D58F60D81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9" creationId="{384F7A38-B916-B297-BF50-1909F06E2DC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90" creationId="{AEDFB616-C73E-B2CB-7750-BC78E12AB9FD}"/>
          </ac:spMkLst>
        </pc:spChg>
        <pc:spChg chg="add del mod modVis">
          <ac:chgData name="vonWaldow, Ulrich" userId="c64b3fe1-2fbf-4408-adc4-30add62e991f" providerId="ADAL" clId="{B99A90B8-7D29-4456-AFD4-0F3DBA13A596}" dt="2024-08-26T08:57:11.467" v="296"/>
          <ac:spMkLst>
            <pc:docMk/>
            <pc:sldMk cId="3711987300" sldId="1652"/>
            <ac:spMk id="91" creationId="{3976338F-735F-F4C3-34DC-3F23A7374852}"/>
          </ac:spMkLst>
        </pc:spChg>
        <pc:spChg chg="add del mod modVis">
          <ac:chgData name="vonWaldow, Ulrich" userId="c64b3fe1-2fbf-4408-adc4-30add62e991f" providerId="ADAL" clId="{B99A90B8-7D29-4456-AFD4-0F3DBA13A596}" dt="2024-08-26T08:57:17.627" v="347"/>
          <ac:spMkLst>
            <pc:docMk/>
            <pc:sldMk cId="3711987300" sldId="1652"/>
            <ac:spMk id="93" creationId="{8A8D6240-6EDA-B856-43CF-99ADA01C6BA8}"/>
          </ac:spMkLst>
        </pc:spChg>
        <pc:spChg chg="add mod or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4" creationId="{D6BA5E86-B334-CC77-F6E1-1B205151DA46}"/>
          </ac:spMkLst>
        </pc:spChg>
        <pc:spChg chg="add del mod modVis">
          <ac:chgData name="vonWaldow, Ulrich" userId="c64b3fe1-2fbf-4408-adc4-30add62e991f" providerId="ADAL" clId="{B99A90B8-7D29-4456-AFD4-0F3DBA13A596}" dt="2024-08-26T08:57:26.352" v="384"/>
          <ac:spMkLst>
            <pc:docMk/>
            <pc:sldMk cId="3711987300" sldId="1652"/>
            <ac:spMk id="95" creationId="{E2988DE6-AFC9-13C5-CA1A-C9FA9A38B6A3}"/>
          </ac:spMkLst>
        </pc:spChg>
        <pc:spChg chg="add del mo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6" creationId="{1826E8AE-34E8-EE30-E528-97AA802748B6}"/>
          </ac:spMkLst>
        </pc:spChg>
        <pc:spChg chg="add del mo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7" creationId="{FD91964B-7F70-4E2A-123E-7A2153316FC9}"/>
          </ac:spMkLst>
        </pc:spChg>
        <pc:spChg chg="add del mod modVis">
          <ac:chgData name="vonWaldow, Ulrich" userId="c64b3fe1-2fbf-4408-adc4-30add62e991f" providerId="ADAL" clId="{B99A90B8-7D29-4456-AFD4-0F3DBA13A596}" dt="2024-08-26T08:57:34.031" v="419"/>
          <ac:spMkLst>
            <pc:docMk/>
            <pc:sldMk cId="3711987300" sldId="1652"/>
            <ac:spMk id="98" creationId="{3A6FE8D6-2C8B-9274-8E52-7AFFCFCAC167}"/>
          </ac:spMkLst>
        </pc:spChg>
        <pc:grpChg chg="add mod">
          <ac:chgData name="vonWaldow, Ulrich" userId="c64b3fe1-2fbf-4408-adc4-30add62e991f" providerId="ADAL" clId="{B99A90B8-7D29-4456-AFD4-0F3DBA13A596}" dt="2024-08-26T08:56:02.534" v="233"/>
          <ac:grpSpMkLst>
            <pc:docMk/>
            <pc:sldMk cId="3711987300" sldId="1652"/>
            <ac:grpSpMk id="4" creationId="{811A58FC-1201-6901-635B-70D2DB36ED77}"/>
          </ac:grpSpMkLst>
        </pc:grpChg>
        <pc:grpChg chg="add del mod">
          <ac:chgData name="vonWaldow, Ulrich" userId="c64b3fe1-2fbf-4408-adc4-30add62e991f" providerId="ADAL" clId="{B99A90B8-7D29-4456-AFD4-0F3DBA13A596}" dt="2024-08-26T08:56:18.229" v="260" actId="165"/>
          <ac:grpSpMkLst>
            <pc:docMk/>
            <pc:sldMk cId="3711987300" sldId="1652"/>
            <ac:grpSpMk id="48" creationId="{C397053B-3670-CCEB-24FF-C341864012BD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8:57:34.031" v="421"/>
          <ac:graphicFrameMkLst>
            <pc:docMk/>
            <pc:sldMk cId="3711987300" sldId="1652"/>
            <ac:graphicFrameMk id="92" creationId="{801456F5-0CED-C288-BA3F-F6DB079DEDC3}"/>
          </ac:graphicFrameMkLst>
        </pc:graphicFrame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6" creationId="{13E15CC5-EE8D-A68C-0A87-63450152B242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7" creationId="{9DEC3866-6070-0B5E-D119-F79977EA82F2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8" creationId="{B523846C-11F2-BF66-EDA5-3D5C0888AE44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9" creationId="{793C8177-C075-BADF-1174-A2EB86E57640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20" creationId="{DBB450C3-B15F-9C65-0DD6-03139D369DA9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21" creationId="{6765AF2E-9D59-3436-FD9E-10332623807C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0" creationId="{9284052C-662D-AE70-6365-AE2DD6FD1C3F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1" creationId="{90299DD3-6F24-C48B-97A8-CB5DD3EAFD20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2" creationId="{043BE705-8039-39A0-C4F5-1B8248239EAD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3" creationId="{66687B0E-CD0F-BC65-A086-84F874477DBF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4" creationId="{97188538-4207-1F0E-B772-0C4B4BC0A7CD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5" creationId="{39D4879B-3B04-87F0-C724-3984FAC88E29}"/>
          </ac:cxnSpMkLst>
        </pc:cxnChg>
      </pc:sldChg>
      <pc:sldChg chg="addSp delSp modSp new del mod modClrScheme chgLayout">
        <pc:chgData name="vonWaldow, Ulrich" userId="c64b3fe1-2fbf-4408-adc4-30add62e991f" providerId="ADAL" clId="{B99A90B8-7D29-4456-AFD4-0F3DBA13A596}" dt="2024-08-26T09:06:49.672" v="814" actId="2696"/>
        <pc:sldMkLst>
          <pc:docMk/>
          <pc:sldMk cId="63818192" sldId="1653"/>
        </pc:sldMkLst>
        <pc:spChg chg="mod ord">
          <ac:chgData name="vonWaldow, Ulrich" userId="c64b3fe1-2fbf-4408-adc4-30add62e991f" providerId="ADAL" clId="{B99A90B8-7D29-4456-AFD4-0F3DBA13A596}" dt="2024-08-26T09:04:18.956" v="647" actId="948"/>
          <ac:spMkLst>
            <pc:docMk/>
            <pc:sldMk cId="63818192" sldId="1653"/>
            <ac:spMk id="2" creationId="{0E20BD28-EC23-EDA4-88BE-52AB04849ECA}"/>
          </ac:spMkLst>
        </pc:spChg>
        <pc:spChg chg="mod ord">
          <ac:chgData name="vonWaldow, Ulrich" userId="c64b3fe1-2fbf-4408-adc4-30add62e991f" providerId="ADAL" clId="{B99A90B8-7D29-4456-AFD4-0F3DBA13A596}" dt="2024-08-26T09:04:18.437" v="646" actId="700"/>
          <ac:spMkLst>
            <pc:docMk/>
            <pc:sldMk cId="63818192" sldId="1653"/>
            <ac:spMk id="3" creationId="{08E76B67-211E-03A8-834D-AEB62F55A96C}"/>
          </ac:spMkLst>
        </pc:spChg>
        <pc:spChg chg="add 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4" creationId="{D4EEC638-3D56-7B81-0F7C-03D7D0DF287A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6" creationId="{788BE88F-6923-BC5E-D46C-7A4BA4D6BE1D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7" creationId="{257C3699-6929-EFBA-D235-77D8D30AA1F5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8" creationId="{9A6C9D40-D8E5-BEA5-56A2-7249618AF009}"/>
          </ac:spMkLst>
        </pc:spChg>
        <pc:spChg chg="mod topLvl">
          <ac:chgData name="vonWaldow, Ulrich" userId="c64b3fe1-2fbf-4408-adc4-30add62e991f" providerId="ADAL" clId="{B99A90B8-7D29-4456-AFD4-0F3DBA13A596}" dt="2024-08-26T09:03:01.391" v="586" actId="1037"/>
          <ac:spMkLst>
            <pc:docMk/>
            <pc:sldMk cId="63818192" sldId="1653"/>
            <ac:spMk id="9" creationId="{E1F7002C-94BF-AC61-5A64-8334D9D8E67F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10" creationId="{32701464-7FF2-3C79-A621-18AB6F56A617}"/>
          </ac:spMkLst>
        </pc:spChg>
        <pc:spChg chg="mod topLvl">
          <ac:chgData name="vonWaldow, Ulrich" userId="c64b3fe1-2fbf-4408-adc4-30add62e991f" providerId="ADAL" clId="{B99A90B8-7D29-4456-AFD4-0F3DBA13A596}" dt="2024-08-26T09:03:28.449" v="588" actId="11530"/>
          <ac:spMkLst>
            <pc:docMk/>
            <pc:sldMk cId="63818192" sldId="1653"/>
            <ac:spMk id="11" creationId="{A47176F6-0513-21B5-08AA-798A3D0AD3DD}"/>
          </ac:spMkLst>
        </pc:spChg>
        <pc:spChg chg="mod topLvl">
          <ac:chgData name="vonWaldow, Ulrich" userId="c64b3fe1-2fbf-4408-adc4-30add62e991f" providerId="ADAL" clId="{B99A90B8-7D29-4456-AFD4-0F3DBA13A596}" dt="2024-08-26T09:03:28.449" v="588" actId="11530"/>
          <ac:spMkLst>
            <pc:docMk/>
            <pc:sldMk cId="63818192" sldId="1653"/>
            <ac:spMk id="12" creationId="{E1A045F3-4515-69A1-39F0-B214589FFE00}"/>
          </ac:spMkLst>
        </pc:spChg>
        <pc:spChg chg="mod topLvl">
          <ac:chgData name="vonWaldow, Ulrich" userId="c64b3fe1-2fbf-4408-adc4-30add62e991f" providerId="ADAL" clId="{B99A90B8-7D29-4456-AFD4-0F3DBA13A596}" dt="2024-08-26T09:03:33.764" v="589"/>
          <ac:spMkLst>
            <pc:docMk/>
            <pc:sldMk cId="63818192" sldId="1653"/>
            <ac:spMk id="13" creationId="{87B6A50D-9196-B3E0-976A-AF64D0355C51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4" creationId="{52FEBE21-2C60-8A70-4B8F-1D477D18C4A4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5" creationId="{C77C94EC-1502-F341-0B5D-E655CE21B979}"/>
          </ac:spMkLst>
        </pc:spChg>
        <pc:spChg chg="mod topLvl">
          <ac:chgData name="vonWaldow, Ulrich" userId="c64b3fe1-2fbf-4408-adc4-30add62e991f" providerId="ADAL" clId="{B99A90B8-7D29-4456-AFD4-0F3DBA13A596}" dt="2024-08-26T09:02:55.956" v="579" actId="14100"/>
          <ac:spMkLst>
            <pc:docMk/>
            <pc:sldMk cId="63818192" sldId="1653"/>
            <ac:spMk id="16" creationId="{0D56AF4D-1BA0-0049-3EE2-2B4F5414AD3B}"/>
          </ac:spMkLst>
        </pc:spChg>
        <pc:spChg chg="mod topLvl">
          <ac:chgData name="vonWaldow, Ulrich" userId="c64b3fe1-2fbf-4408-adc4-30add62e991f" providerId="ADAL" clId="{B99A90B8-7D29-4456-AFD4-0F3DBA13A596}" dt="2024-08-26T09:03:01.391" v="586" actId="1037"/>
          <ac:spMkLst>
            <pc:docMk/>
            <pc:sldMk cId="63818192" sldId="1653"/>
            <ac:spMk id="17" creationId="{4D4FB9E0-B8B1-9426-BBFA-FACA64FB1728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8" creationId="{AD54CE7D-232F-B912-468B-860D3445697C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9" creationId="{7B221A2A-0A40-F693-7883-F4C448891796}"/>
          </ac:spMkLst>
        </pc:spChg>
        <pc:spChg chg="mod topLvl">
          <ac:chgData name="vonWaldow, Ulrich" userId="c64b3fe1-2fbf-4408-adc4-30add62e991f" providerId="ADAL" clId="{B99A90B8-7D29-4456-AFD4-0F3DBA13A596}" dt="2024-08-26T09:02:55.956" v="579" actId="14100"/>
          <ac:spMkLst>
            <pc:docMk/>
            <pc:sldMk cId="63818192" sldId="1653"/>
            <ac:spMk id="20" creationId="{4FA3341D-1E9E-34B7-7723-A4C070C449B9}"/>
          </ac:spMkLst>
        </pc:spChg>
        <pc:spChg chg="add del mod modVis">
          <ac:chgData name="vonWaldow, Ulrich" userId="c64b3fe1-2fbf-4408-adc4-30add62e991f" providerId="ADAL" clId="{B99A90B8-7D29-4456-AFD4-0F3DBA13A596}" dt="2024-08-26T09:03:47.248" v="612"/>
          <ac:spMkLst>
            <pc:docMk/>
            <pc:sldMk cId="63818192" sldId="1653"/>
            <ac:spMk id="27" creationId="{D1BBFF26-016D-62C2-ED60-0CFA35BE4D25}"/>
          </ac:spMkLst>
        </pc:spChg>
        <pc:spChg chg="add del mod modVis">
          <ac:chgData name="vonWaldow, Ulrich" userId="c64b3fe1-2fbf-4408-adc4-30add62e991f" providerId="ADAL" clId="{B99A90B8-7D29-4456-AFD4-0F3DBA13A596}" dt="2024-08-26T09:04:18.987" v="668"/>
          <ac:spMkLst>
            <pc:docMk/>
            <pc:sldMk cId="63818192" sldId="1653"/>
            <ac:spMk id="29" creationId="{4E8AB1E2-7A51-922E-DFF7-3815E815ED84}"/>
          </ac:spMkLst>
        </pc:spChg>
        <pc:grpChg chg="add del mod">
          <ac:chgData name="vonWaldow, Ulrich" userId="c64b3fe1-2fbf-4408-adc4-30add62e991f" providerId="ADAL" clId="{B99A90B8-7D29-4456-AFD4-0F3DBA13A596}" dt="2024-08-26T08:59:00.273" v="471" actId="165"/>
          <ac:grpSpMkLst>
            <pc:docMk/>
            <pc:sldMk cId="63818192" sldId="1653"/>
            <ac:grpSpMk id="5" creationId="{4B18083C-548F-CC88-FF6E-4381A74D3255}"/>
          </ac:grpSpMkLst>
        </pc:grpChg>
        <pc:grpChg chg="add del mod">
          <ac:chgData name="vonWaldow, Ulrich" userId="c64b3fe1-2fbf-4408-adc4-30add62e991f" providerId="ADAL" clId="{B99A90B8-7D29-4456-AFD4-0F3DBA13A596}" dt="2024-08-26T09:01:37.190" v="541" actId="165"/>
          <ac:grpSpMkLst>
            <pc:docMk/>
            <pc:sldMk cId="63818192" sldId="1653"/>
            <ac:grpSpMk id="21" creationId="{ADD5BCE2-7B36-856E-6A6C-5F698F95740C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2" creationId="{A73E20BB-383E-4905-F9A5-034FB6C771E2}"/>
          </ac:grpSpMkLst>
        </pc:grpChg>
        <pc:grpChg chg="add mod">
          <ac:chgData name="vonWaldow, Ulrich" userId="c64b3fe1-2fbf-4408-adc4-30add62e991f" providerId="ADAL" clId="{B99A90B8-7D29-4456-AFD4-0F3DBA13A596}" dt="2024-08-26T09:01:47.958" v="548" actId="164"/>
          <ac:grpSpMkLst>
            <pc:docMk/>
            <pc:sldMk cId="63818192" sldId="1653"/>
            <ac:grpSpMk id="23" creationId="{8939DC77-1ADF-FCDE-AF69-115FC743C901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4" creationId="{3B6F0E53-3F7D-EFE7-65E7-B9FDCA7929CC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5" creationId="{3EA81BC2-C470-0E58-8930-0F36D67C63A0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6" creationId="{44AC24F4-6CBA-6081-ACA8-8C3275163245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04:18.987" v="670"/>
          <ac:graphicFrameMkLst>
            <pc:docMk/>
            <pc:sldMk cId="63818192" sldId="1653"/>
            <ac:graphicFrameMk id="28" creationId="{9A49E659-D8B7-B9C1-F9AA-EDA96351F7FE}"/>
          </ac:graphicFrameMkLst>
        </pc:graphicFrameChg>
      </pc:sldChg>
      <pc:sldChg chg="modSp add">
        <pc:chgData name="vonWaldow, Ulrich" userId="c64b3fe1-2fbf-4408-adc4-30add62e991f" providerId="ADAL" clId="{B99A90B8-7D29-4456-AFD4-0F3DBA13A596}" dt="2024-09-03T12:07:13.147" v="111248"/>
        <pc:sldMkLst>
          <pc:docMk/>
          <pc:sldMk cId="3304183104" sldId="1653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304183104" sldId="1653"/>
            <ac:spMk id="2" creationId="{0E20BD28-EC23-EDA4-88BE-52AB04849EC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9" creationId="{E1F7002C-94BF-AC61-5A64-8334D9D8E67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4" creationId="{52FEBE21-2C60-8A70-4B8F-1D477D18C4A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5" creationId="{C77C94EC-1502-F341-0B5D-E655CE21B97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6" creationId="{0D56AF4D-1BA0-0049-3EE2-2B4F5414AD3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9" creationId="{7B221A2A-0A40-F693-7883-F4C448891796}"/>
          </ac:spMkLst>
        </pc:spChg>
      </pc:sldChg>
      <pc:sldChg chg="modSp add">
        <pc:chgData name="vonWaldow, Ulrich" userId="c64b3fe1-2fbf-4408-adc4-30add62e991f" providerId="ADAL" clId="{B99A90B8-7D29-4456-AFD4-0F3DBA13A596}" dt="2024-08-28T07:44:04.887" v="105518"/>
        <pc:sldMkLst>
          <pc:docMk/>
          <pc:sldMk cId="2991123561" sldId="165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123561" sldId="1654"/>
            <ac:spMk id="11" creationId="{F80EF1DE-A727-2FCD-CF80-0C906EAC05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123561" sldId="1654"/>
            <ac:spMk id="12" creationId="{B134576E-3192-0151-D045-BEAAE04C7E7D}"/>
          </ac:spMkLst>
        </pc:spChg>
      </pc:sldChg>
      <pc:sldChg chg="addSp delSp modSp new del mod modClrScheme chgLayout">
        <pc:chgData name="vonWaldow, Ulrich" userId="c64b3fe1-2fbf-4408-adc4-30add62e991f" providerId="ADAL" clId="{B99A90B8-7D29-4456-AFD4-0F3DBA13A596}" dt="2024-08-26T09:06:49.672" v="814" actId="2696"/>
        <pc:sldMkLst>
          <pc:docMk/>
          <pc:sldMk cId="3434572055" sldId="1654"/>
        </pc:sldMkLst>
        <pc:spChg chg="mod ord">
          <ac:chgData name="vonWaldow, Ulrich" userId="c64b3fe1-2fbf-4408-adc4-30add62e991f" providerId="ADAL" clId="{B99A90B8-7D29-4456-AFD4-0F3DBA13A596}" dt="2024-08-26T09:04:58.887" v="781" actId="948"/>
          <ac:spMkLst>
            <pc:docMk/>
            <pc:sldMk cId="3434572055" sldId="1654"/>
            <ac:spMk id="2" creationId="{2D2A3F8F-8CE5-04DA-1837-0CFA06BF0A93}"/>
          </ac:spMkLst>
        </pc:spChg>
        <pc:spChg chg="mod ord">
          <ac:chgData name="vonWaldow, Ulrich" userId="c64b3fe1-2fbf-4408-adc4-30add62e991f" providerId="ADAL" clId="{B99A90B8-7D29-4456-AFD4-0F3DBA13A596}" dt="2024-08-26T09:04:58.382" v="780" actId="700"/>
          <ac:spMkLst>
            <pc:docMk/>
            <pc:sldMk cId="3434572055" sldId="1654"/>
            <ac:spMk id="3" creationId="{477EF219-2593-634B-1602-B8495C5A0018}"/>
          </ac:spMkLst>
        </pc:spChg>
        <pc:spChg chg="add del">
          <ac:chgData name="vonWaldow, Ulrich" userId="c64b3fe1-2fbf-4408-adc4-30add62e991f" providerId="ADAL" clId="{B99A90B8-7D29-4456-AFD4-0F3DBA13A596}" dt="2024-08-26T09:04:38.144" v="673" actId="22"/>
          <ac:spMkLst>
            <pc:docMk/>
            <pc:sldMk cId="3434572055" sldId="1654"/>
            <ac:spMk id="5" creationId="{32EA96DE-BB9B-B472-9009-04D5F56F5465}"/>
          </ac:spMkLst>
        </pc:spChg>
        <pc:spChg chg="add del mod modVis">
          <ac:chgData name="vonWaldow, Ulrich" userId="c64b3fe1-2fbf-4408-adc4-30add62e991f" providerId="ADAL" clId="{B99A90B8-7D29-4456-AFD4-0F3DBA13A596}" dt="2024-08-26T09:04:39.526" v="720"/>
          <ac:spMkLst>
            <pc:docMk/>
            <pc:sldMk cId="3434572055" sldId="1654"/>
            <ac:spMk id="6" creationId="{B35C8D89-3325-D7CF-BF4B-2E1C7AF7172E}"/>
          </ac:spMkLst>
        </pc:spChg>
        <pc:spChg chg="add del mod modVis">
          <ac:chgData name="vonWaldow, Ulrich" userId="c64b3fe1-2fbf-4408-adc4-30add62e991f" providerId="ADAL" clId="{B99A90B8-7D29-4456-AFD4-0F3DBA13A596}" dt="2024-08-26T09:04:45.304" v="764"/>
          <ac:spMkLst>
            <pc:docMk/>
            <pc:sldMk cId="3434572055" sldId="1654"/>
            <ac:spMk id="8" creationId="{A65E86C6-0601-1FEF-C3C0-0707F315E53F}"/>
          </ac:spMkLst>
        </pc:spChg>
        <pc:spChg chg="add del mod modVis">
          <ac:chgData name="vonWaldow, Ulrich" userId="c64b3fe1-2fbf-4408-adc4-30add62e991f" providerId="ADAL" clId="{B99A90B8-7D29-4456-AFD4-0F3DBA13A596}" dt="2024-08-26T09:04:58.903" v="802"/>
          <ac:spMkLst>
            <pc:docMk/>
            <pc:sldMk cId="3434572055" sldId="1654"/>
            <ac:spMk id="9" creationId="{7934E465-FF51-18AA-8074-556D1ED38575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1" creationId="{F80EF1DE-A727-2FCD-CF80-0C906EAC05E1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2" creationId="{B134576E-3192-0151-D045-BEAAE04C7E7D}"/>
          </ac:spMkLst>
        </pc:spChg>
        <pc:spChg chg="mod topLvl">
          <ac:chgData name="vonWaldow, Ulrich" userId="c64b3fe1-2fbf-4408-adc4-30add62e991f" providerId="ADAL" clId="{B99A90B8-7D29-4456-AFD4-0F3DBA13A596}" dt="2024-08-26T09:05:21.805" v="813" actId="207"/>
          <ac:spMkLst>
            <pc:docMk/>
            <pc:sldMk cId="3434572055" sldId="1654"/>
            <ac:spMk id="13" creationId="{D01125FF-DC9F-158D-7881-57D66C57156F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5" creationId="{8B6DBCA0-FF02-9C93-DA07-AD42702D2BAC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6" creationId="{45598615-81F2-FE82-0529-644316CD61BA}"/>
          </ac:spMkLst>
        </pc:spChg>
        <pc:spChg chg="mod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7" creationId="{DF211023-B723-50A6-C25A-FE3C499F1ED2}"/>
          </ac:spMkLst>
        </pc:spChg>
        <pc:spChg chg="mod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8" creationId="{6C585D9F-4C6F-52CD-382E-5DBF853AE264}"/>
          </ac:spMkLst>
        </pc:spChg>
        <pc:grpChg chg="add del mod">
          <ac:chgData name="vonWaldow, Ulrich" userId="c64b3fe1-2fbf-4408-adc4-30add62e991f" providerId="ADAL" clId="{B99A90B8-7D29-4456-AFD4-0F3DBA13A596}" dt="2024-08-26T09:05:17.219" v="811" actId="165"/>
          <ac:grpSpMkLst>
            <pc:docMk/>
            <pc:sldMk cId="3434572055" sldId="1654"/>
            <ac:grpSpMk id="10" creationId="{962F546C-84AA-8292-4BE4-253DF7B37253}"/>
          </ac:grpSpMkLst>
        </pc:grpChg>
        <pc:grpChg chg="mod topLvl">
          <ac:chgData name="vonWaldow, Ulrich" userId="c64b3fe1-2fbf-4408-adc4-30add62e991f" providerId="ADAL" clId="{B99A90B8-7D29-4456-AFD4-0F3DBA13A596}" dt="2024-08-26T09:05:17.219" v="811" actId="165"/>
          <ac:grpSpMkLst>
            <pc:docMk/>
            <pc:sldMk cId="3434572055" sldId="1654"/>
            <ac:grpSpMk id="14" creationId="{1A52C267-6BBC-8E8B-1ACF-EB41A375575B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04:58.918" v="804"/>
          <ac:graphicFrameMkLst>
            <pc:docMk/>
            <pc:sldMk cId="3434572055" sldId="1654"/>
            <ac:graphicFrameMk id="7" creationId="{FE41214F-D7D7-E0B8-701C-D0430317AE6F}"/>
          </ac:graphicFrameMkLst>
        </pc:graphicFrameChg>
      </pc:sldChg>
      <pc:sldChg chg="addSp delSp modSp new mod ord">
        <pc:chgData name="vonWaldow, Ulrich" userId="c64b3fe1-2fbf-4408-adc4-30add62e991f" providerId="ADAL" clId="{B99A90B8-7D29-4456-AFD4-0F3DBA13A596}" dt="2024-08-26T11:32:00.588" v="31516"/>
        <pc:sldMkLst>
          <pc:docMk/>
          <pc:sldMk cId="4245149813" sldId="1655"/>
        </pc:sldMkLst>
        <pc:spChg chg="mod">
          <ac:chgData name="vonWaldow, Ulrich" userId="c64b3fe1-2fbf-4408-adc4-30add62e991f" providerId="ADAL" clId="{B99A90B8-7D29-4456-AFD4-0F3DBA13A596}" dt="2024-08-26T09:56:51.680" v="950" actId="948"/>
          <ac:spMkLst>
            <pc:docMk/>
            <pc:sldMk cId="4245149813" sldId="1655"/>
            <ac:spMk id="2" creationId="{B05BACCF-C5F2-0930-0C9F-50D311FD78CC}"/>
          </ac:spMkLst>
        </pc:spChg>
        <pc:spChg chg="add del mod topLvl">
          <ac:chgData name="vonWaldow, Ulrich" userId="c64b3fe1-2fbf-4408-adc4-30add62e991f" providerId="ADAL" clId="{B99A90B8-7D29-4456-AFD4-0F3DBA13A596}" dt="2024-08-26T11:05:27.686" v="2112" actId="478"/>
          <ac:spMkLst>
            <pc:docMk/>
            <pc:sldMk cId="4245149813" sldId="1655"/>
            <ac:spMk id="3" creationId="{38F0F61B-DF81-0FAD-F55C-967C213E6F79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4" creationId="{D2738878-1E11-DB8E-3C39-A8B71A7C4DD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5" creationId="{535995C2-06C4-3670-1E15-D082DCE8A283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6" creationId="{91159F16-217B-DE73-3177-22FA5EC679B6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7" creationId="{560D3407-2C63-B4C1-9579-A72A8D5C8FDE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8" creationId="{4D7EF3B0-824E-37F6-91BA-7C12A0BE2272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9" creationId="{97E7B26A-1340-AEC8-7C9B-148C9EDA280C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0" creationId="{44BD1E42-4140-E800-F355-18D6435B5864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1" creationId="{137382FC-6C07-6AD5-D558-738A9A76120D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2" creationId="{26FC321C-9387-DCDC-AF5C-3188ADB29F75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3" creationId="{74A01235-47F6-81DF-9C53-B6A43F2202AF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4" creationId="{83614816-7FA2-AD72-E50A-B70865A73002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5" creationId="{69C171E7-FD29-5ABB-FB69-532200C1A89A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6" creationId="{52B06642-7912-6B15-A69C-14899D577577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7" creationId="{E47C8E0D-1ED2-8DCB-E362-E1782C1D6DD6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8" creationId="{F07DB314-4C96-56CC-71C6-E5CE98CC79D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9" creationId="{BD93BE32-DC8C-462F-2FA5-8347F18D4422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0" creationId="{645DEDF8-4B2F-8849-51CA-323FAD6064E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1" creationId="{27AE2BBF-7130-7DBB-399B-8FDA108D74FA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2" creationId="{1B0D5946-8863-4793-5698-DE5AE72F9584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3" creationId="{57C121A9-EE2C-18A1-BDFE-8560D89B646F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4" creationId="{737FC800-7760-C829-411F-DA4FDB16A8F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5" creationId="{EF197C6F-CE3D-FF8B-8568-BDC31ABB758B}"/>
          </ac:spMkLst>
        </pc:spChg>
        <pc:spChg chg="add del mod topLvl">
          <ac:chgData name="vonWaldow, Ulrich" userId="c64b3fe1-2fbf-4408-adc4-30add62e991f" providerId="ADAL" clId="{B99A90B8-7D29-4456-AFD4-0F3DBA13A596}" dt="2024-08-26T11:06:07.945" v="2161" actId="478"/>
          <ac:spMkLst>
            <pc:docMk/>
            <pc:sldMk cId="4245149813" sldId="1655"/>
            <ac:spMk id="26" creationId="{E9F388F7-A73D-D192-E0E5-BC592AD05A2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7" creationId="{1C3696D9-3BAE-ABC5-3B6A-198228736040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8" creationId="{9DC10923-34AF-E0D9-3BEC-C9E452B390E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9" creationId="{68608EDA-ECD2-E61C-2011-E7293C481C43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30" creationId="{41A73A90-727A-B330-E69B-D9CE630AD96D}"/>
          </ac:spMkLst>
        </pc:spChg>
        <pc:spChg chg="add del mod topLvl">
          <ac:chgData name="vonWaldow, Ulrich" userId="c64b3fe1-2fbf-4408-adc4-30add62e991f" providerId="ADAL" clId="{B99A90B8-7D29-4456-AFD4-0F3DBA13A596}" dt="2024-08-26T11:04:55.665" v="2101" actId="478"/>
          <ac:spMkLst>
            <pc:docMk/>
            <pc:sldMk cId="4245149813" sldId="1655"/>
            <ac:spMk id="31" creationId="{55676409-9B6F-BBAB-4731-8CBFACA5D7E3}"/>
          </ac:spMkLst>
        </pc:spChg>
        <pc:spChg chg="add del mod topLvl">
          <ac:chgData name="vonWaldow, Ulrich" userId="c64b3fe1-2fbf-4408-adc4-30add62e991f" providerId="ADAL" clId="{B99A90B8-7D29-4456-AFD4-0F3DBA13A596}" dt="2024-08-26T11:05:04.665" v="2105" actId="478"/>
          <ac:spMkLst>
            <pc:docMk/>
            <pc:sldMk cId="4245149813" sldId="1655"/>
            <ac:spMk id="32" creationId="{FEAD44AB-7EEE-7B59-9071-0F1A879F3167}"/>
          </ac:spMkLst>
        </pc:spChg>
        <pc:spChg chg="add del mod modVis">
          <ac:chgData name="vonWaldow, Ulrich" userId="c64b3fe1-2fbf-4408-adc4-30add62e991f" providerId="ADAL" clId="{B99A90B8-7D29-4456-AFD4-0F3DBA13A596}" dt="2024-08-26T09:56:46.175" v="915"/>
          <ac:spMkLst>
            <pc:docMk/>
            <pc:sldMk cId="4245149813" sldId="1655"/>
            <ac:spMk id="34" creationId="{6012A467-6B43-957A-5E4D-8B9C0932CAA3}"/>
          </ac:spMkLst>
        </pc:spChg>
        <pc:spChg chg="add del mod modVis">
          <ac:chgData name="vonWaldow, Ulrich" userId="c64b3fe1-2fbf-4408-adc4-30add62e991f" providerId="ADAL" clId="{B99A90B8-7D29-4456-AFD4-0F3DBA13A596}" dt="2024-08-26T09:56:51.692" v="971"/>
          <ac:spMkLst>
            <pc:docMk/>
            <pc:sldMk cId="4245149813" sldId="1655"/>
            <ac:spMk id="36" creationId="{44925F38-6EEE-97CB-F9D9-AE294A274B7C}"/>
          </ac:spMkLst>
        </pc:spChg>
        <pc:grpChg chg="add del mod">
          <ac:chgData name="vonWaldow, Ulrich" userId="c64b3fe1-2fbf-4408-adc4-30add62e991f" providerId="ADAL" clId="{B99A90B8-7D29-4456-AFD4-0F3DBA13A596}" dt="2024-08-26T11:03:13.369" v="2049" actId="165"/>
          <ac:grpSpMkLst>
            <pc:docMk/>
            <pc:sldMk cId="4245149813" sldId="1655"/>
            <ac:grpSpMk id="33" creationId="{97FA983B-7188-C379-CA5D-14478DBEAA68}"/>
          </ac:grpSpMkLst>
        </pc:grpChg>
        <pc:grpChg chg="add del mod">
          <ac:chgData name="vonWaldow, Ulrich" userId="c64b3fe1-2fbf-4408-adc4-30add62e991f" providerId="ADAL" clId="{B99A90B8-7D29-4456-AFD4-0F3DBA13A596}" dt="2024-08-26T11:15:34.383" v="9879" actId="165"/>
          <ac:grpSpMkLst>
            <pc:docMk/>
            <pc:sldMk cId="4245149813" sldId="1655"/>
            <ac:grpSpMk id="37" creationId="{2569A974-F003-26D3-B3E9-900DE5A8A372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56:51.708" v="973"/>
          <ac:graphicFrameMkLst>
            <pc:docMk/>
            <pc:sldMk cId="4245149813" sldId="1655"/>
            <ac:graphicFrameMk id="35" creationId="{18858AE1-9366-C422-96A3-6EE9AA2696CE}"/>
          </ac:graphicFrameMkLst>
        </pc:graphicFrameChg>
      </pc:sldChg>
      <pc:sldChg chg="addSp delSp modSp new mod">
        <pc:chgData name="vonWaldow, Ulrich" userId="c64b3fe1-2fbf-4408-adc4-30add62e991f" providerId="ADAL" clId="{B99A90B8-7D29-4456-AFD4-0F3DBA13A596}" dt="2024-08-28T07:44:04.887" v="105518"/>
        <pc:sldMkLst>
          <pc:docMk/>
          <pc:sldMk cId="671699751" sldId="1656"/>
        </pc:sldMkLst>
        <pc:spChg chg="mod">
          <ac:chgData name="vonWaldow, Ulrich" userId="c64b3fe1-2fbf-4408-adc4-30add62e991f" providerId="ADAL" clId="{B99A90B8-7D29-4456-AFD4-0F3DBA13A596}" dt="2024-08-26T11:14:11.122" v="9766" actId="1076"/>
          <ac:spMkLst>
            <pc:docMk/>
            <pc:sldMk cId="671699751" sldId="1656"/>
            <ac:spMk id="2" creationId="{0796DFFD-CCAF-DE78-524A-A68C23AA7FEF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3" creationId="{FDB2D01B-6022-4104-1D1B-10D31CAD0CBE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4" creationId="{37EA2755-427F-5C2A-1812-242139FA5C2F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5" creationId="{34F42CB4-F0AE-B02E-4997-B87E8204BDB1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6" creationId="{4FF01524-2097-6309-243E-14497BEDFA53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7" creationId="{430B6ECF-8336-C708-DF0A-774BB97EEE9B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8" creationId="{88B882A4-96A2-4ABF-98CD-D8CAE3DE975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9" creationId="{6FC15F6D-A216-FFCE-98ED-5C6B4DBE2B2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0" creationId="{FE59B47B-E480-BE8C-6619-81B63BB125A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1" creationId="{C1B43E02-50E9-3F4D-E61B-00F3A70B6B5B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2" creationId="{E9A6D3D1-09E5-4ECB-0862-40CB552AE00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3" creationId="{02917415-88A7-5CCF-5952-E60D697D2DFD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4" creationId="{5D342352-F56F-CB0B-F723-301D9927528E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5" creationId="{738181E0-D4C2-1F25-31C6-5C6F0D363EA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6" creationId="{4B792A3A-9B30-4E40-837E-36D523E9FE01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7" creationId="{119473B5-18AB-EAD9-107C-6B449A24A3E6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8" creationId="{94B99DA1-9094-CDF1-067C-CCCB2F2B448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9" creationId="{7F35B436-A7CC-958D-A322-7E75A3FD0D3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0" creationId="{CB283F18-7ED6-04C2-07D0-35C75CBEF5E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1" creationId="{935826FC-0684-A2C4-20D1-F4E08CF44B45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2" creationId="{4AF63452-10D0-766D-9164-C8F04B801C2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3" creationId="{06C512DE-1F55-10BB-0A59-FF3073C3E7E7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4" creationId="{E22651C9-4727-B843-2F3E-9D9B7F3195E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5" creationId="{C7EFBC2B-EE7A-ACD7-8BC4-ABDFE042343C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6" creationId="{4941031A-9A23-3A65-0535-B883A418EEC6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7" creationId="{0E07D3E5-B637-8A6D-707A-3FE2F7D07265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8" creationId="{4B92896A-D7F0-6394-396F-A16A8D691B9A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9" creationId="{52111D8A-FD84-F343-DEEB-655534284358}"/>
          </ac:spMkLst>
        </pc:spChg>
        <pc:spChg chg="add del mod topLvl">
          <ac:chgData name="vonWaldow, Ulrich" userId="c64b3fe1-2fbf-4408-adc4-30add62e991f" providerId="ADAL" clId="{B99A90B8-7D29-4456-AFD4-0F3DBA13A596}" dt="2024-08-26T11:12:58.137" v="9684" actId="478"/>
          <ac:spMkLst>
            <pc:docMk/>
            <pc:sldMk cId="671699751" sldId="1656"/>
            <ac:spMk id="30" creationId="{F83F6B2E-9A08-EE1B-652B-05709EDC8029}"/>
          </ac:spMkLst>
        </pc:spChg>
        <pc:spChg chg="add del mod ord topLvl">
          <ac:chgData name="vonWaldow, Ulrich" userId="c64b3fe1-2fbf-4408-adc4-30add62e991f" providerId="ADAL" clId="{B99A90B8-7D29-4456-AFD4-0F3DBA13A596}" dt="2024-08-26T11:13:59.777" v="9741" actId="478"/>
          <ac:spMkLst>
            <pc:docMk/>
            <pc:sldMk cId="671699751" sldId="1656"/>
            <ac:spMk id="31" creationId="{448660CD-2B38-AE1D-79C1-8802610C6B93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2" creationId="{2CB670EC-7105-4ADA-23D0-33E4B5A92241}"/>
          </ac:spMkLst>
        </pc:spChg>
        <pc:spChg chg="add del mod topLvl">
          <ac:chgData name="vonWaldow, Ulrich" userId="c64b3fe1-2fbf-4408-adc4-30add62e991f" providerId="ADAL" clId="{B99A90B8-7D29-4456-AFD4-0F3DBA13A596}" dt="2024-08-26T11:14:07.288" v="9755" actId="478"/>
          <ac:spMkLst>
            <pc:docMk/>
            <pc:sldMk cId="671699751" sldId="1656"/>
            <ac:spMk id="33" creationId="{91C28AB2-B9A2-9A87-6CF2-A50CCCDA6E75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4" creationId="{19B023F3-2CF1-A2BE-6272-BA60A5D104CF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5" creationId="{9FF24C1C-E26C-19F4-5E90-8B6F0E93CBF7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6" creationId="{A8CF21F1-B6B1-D290-45E4-07DC3E08319E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7" creationId="{EE0B7704-53D3-C729-A92E-CCF89555BDB0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8" creationId="{5AAEBECF-5AD7-86F3-5849-0146B6899CAB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9" creationId="{56A5F612-A6AE-8DE1-ED03-D258F98A64E2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40" creationId="{2645B404-D9C8-7DBA-EF04-A922B262F4E2}"/>
          </ac:spMkLst>
        </pc:spChg>
        <pc:spChg chg="add del mod ord topLvl">
          <ac:chgData name="vonWaldow, Ulrich" userId="c64b3fe1-2fbf-4408-adc4-30add62e991f" providerId="ADAL" clId="{B99A90B8-7D29-4456-AFD4-0F3DBA13A596}" dt="2024-08-26T11:15:47.935" v="9894" actId="478"/>
          <ac:spMkLst>
            <pc:docMk/>
            <pc:sldMk cId="671699751" sldId="1656"/>
            <ac:spMk id="41" creationId="{592669C5-F13C-7981-BAC8-32FF296A4AAC}"/>
          </ac:spMkLst>
        </pc:spChg>
        <pc:spChg chg="add del mod ord topLvl">
          <ac:chgData name="vonWaldow, Ulrich" userId="c64b3fe1-2fbf-4408-adc4-30add62e991f" providerId="ADAL" clId="{B99A90B8-7D29-4456-AFD4-0F3DBA13A596}" dt="2024-08-26T11:15:47.935" v="9894" actId="478"/>
          <ac:spMkLst>
            <pc:docMk/>
            <pc:sldMk cId="671699751" sldId="1656"/>
            <ac:spMk id="42" creationId="{BDF20B16-5B14-4E11-B578-A8656D03BD90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3" creationId="{2603CCA4-8621-6A9C-9B84-9EBECC936CC8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4" creationId="{A16991A4-CC6C-694D-0823-E18ADB1933E9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5" creationId="{EA97DA53-8B54-5C64-261E-80FA8B8FE97F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6" creationId="{D624D907-7DAB-8E3C-759C-A53575DDB8CD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7" creationId="{38616474-CDE1-FAD8-14DE-88C9F527F7A4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8" creationId="{205A25FB-776E-A3BC-32E5-1C6F8E9C914E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9" creationId="{8C177457-0F3A-F099-D322-F3D2DA25C606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0" creationId="{1BD1B8BF-9382-FB9E-7AEC-39657BDA26A2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1" creationId="{0C1DDCC3-3406-520D-AA07-DB1B6830C523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2" creationId="{97F63C08-409E-B64C-6AFC-4164B3A1BDEB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3" creationId="{70694C43-ACBA-051D-CE7A-1F31935EC9A3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4" creationId="{78068330-3C4A-E535-2E55-F2E2607C3DA8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5" creationId="{C49EE8DF-C98C-8C76-5FD1-5CCCDBE2B3CB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6" creationId="{E49BC449-1995-C589-F091-0AB2BFF371B9}"/>
          </ac:spMkLst>
        </pc:spChg>
        <pc:spChg chg="add del mod modVis">
          <ac:chgData name="vonWaldow, Ulrich" userId="c64b3fe1-2fbf-4408-adc4-30add62e991f" providerId="ADAL" clId="{B99A90B8-7D29-4456-AFD4-0F3DBA13A596}" dt="2024-08-26T09:57:42.886" v="1046"/>
          <ac:spMkLst>
            <pc:docMk/>
            <pc:sldMk cId="671699751" sldId="1656"/>
            <ac:spMk id="58" creationId="{496103CB-EFDA-5571-9EEF-E3F9152E4318}"/>
          </ac:spMkLst>
        </pc:spChg>
        <pc:spChg chg="add del mod modVis">
          <ac:chgData name="vonWaldow, Ulrich" userId="c64b3fe1-2fbf-4408-adc4-30add62e991f" providerId="ADAL" clId="{B99A90B8-7D29-4456-AFD4-0F3DBA13A596}" dt="2024-08-26T09:57:49.075" v="1084"/>
          <ac:spMkLst>
            <pc:docMk/>
            <pc:sldMk cId="671699751" sldId="1656"/>
            <ac:spMk id="60" creationId="{25EBF6A9-F0BD-243C-D764-AA1796F51B39}"/>
          </ac:spMkLst>
        </pc:spChg>
        <pc:spChg chg="add 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71699751" sldId="1656"/>
            <ac:spMk id="61" creationId="{D5BCEF2B-04FE-0089-F27B-32ADE148821A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3" creationId="{690AD3EC-8225-B065-D8DB-2013B47ED669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4" creationId="{8DD8C6D0-D314-F805-68CB-D8D8951551C8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5" creationId="{139B2C51-2833-9984-08F1-C4BFDED1F4C3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6" creationId="{3333DECC-5B3E-DAC2-4AF5-3A2CFE8056F3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7" creationId="{B89BB278-060F-20C7-4F4E-D2A3A37ABC11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8" creationId="{6FBA4D9F-975B-6257-DDE6-C319382B9760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9" creationId="{E9559019-0AB2-51F1-1B2C-08C948ACB16C}"/>
          </ac:spMkLst>
        </pc:spChg>
        <pc:spChg chg="del mod topLvl">
          <ac:chgData name="vonWaldow, Ulrich" userId="c64b3fe1-2fbf-4408-adc4-30add62e991f" providerId="ADAL" clId="{B99A90B8-7D29-4456-AFD4-0F3DBA13A596}" dt="2024-08-26T11:16:27.726" v="9953" actId="478"/>
          <ac:spMkLst>
            <pc:docMk/>
            <pc:sldMk cId="671699751" sldId="1656"/>
            <ac:spMk id="70" creationId="{F7DED8BA-E3CE-70F8-EF70-A16F5EE88DD4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1" creationId="{BC86332F-6996-FAAD-5FAA-4A1881713D05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2" creationId="{85B73F4E-8F31-5F67-6EFA-EBFDE497E182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3" creationId="{7DB5DCE7-67B7-85C9-FEF8-4B8043F9F73C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4" creationId="{63EA9556-CE8E-E1C6-583C-92C8587E40BA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5" creationId="{409A5D94-BD18-00AA-5C38-F43C3EB2322B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6" creationId="{444E6AAD-8061-84FA-134C-3EE8606F584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7" creationId="{191FD5E6-DD4F-0FD2-D9DD-B5F07AA8008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8" creationId="{C290B06B-A9F9-DB8E-5087-40709A48D440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9" creationId="{153F3B5A-ECE7-186D-D403-614C1B450E3B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0" creationId="{D6B2A0BC-B55F-6B29-0013-0F4737E2DBA8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1" creationId="{9A4FDBC4-46B4-6C2D-93BA-7EC1933DB235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2" creationId="{0F6F9C8B-8671-1612-A281-E9FEF88E0C7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3" creationId="{81B1EDC2-E4E1-5028-DA4B-539DA9E0F87E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4" creationId="{7B5ACDAC-DA2A-7373-B7BA-CF7885634E81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5" creationId="{2CF5D38B-5B73-5F06-8386-5F9C1058741F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6" creationId="{22318A8A-08FF-A74B-DC0E-7C49A3FD6C08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7" creationId="{69B3FA90-4088-6ABF-B4AE-DEC020285DA1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8" creationId="{19D5AF2E-6B46-7C6B-A2A5-3493622271C7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9" creationId="{B4F798A5-D415-9A4A-911F-EC300275D3F0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90" creationId="{70EE4082-8CA2-22D5-6993-3F7A062CFB33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91" creationId="{0C401A9B-E99C-47A0-6650-BF840898CF51}"/>
          </ac:spMkLst>
        </pc:spChg>
        <pc:grpChg chg="add del mod">
          <ac:chgData name="vonWaldow, Ulrich" userId="c64b3fe1-2fbf-4408-adc4-30add62e991f" providerId="ADAL" clId="{B99A90B8-7D29-4456-AFD4-0F3DBA13A596}" dt="2024-08-26T11:12:54.962" v="9683" actId="165"/>
          <ac:grpSpMkLst>
            <pc:docMk/>
            <pc:sldMk cId="671699751" sldId="1656"/>
            <ac:grpSpMk id="57" creationId="{D7A5CC91-E8C7-1CA1-61B1-F8E901B3434A}"/>
          </ac:grpSpMkLst>
        </pc:grpChg>
        <pc:grpChg chg="add del mod">
          <ac:chgData name="vonWaldow, Ulrich" userId="c64b3fe1-2fbf-4408-adc4-30add62e991f" providerId="ADAL" clId="{B99A90B8-7D29-4456-AFD4-0F3DBA13A596}" dt="2024-08-26T11:13:37.922" v="9707" actId="165"/>
          <ac:grpSpMkLst>
            <pc:docMk/>
            <pc:sldMk cId="671699751" sldId="1656"/>
            <ac:grpSpMk id="62" creationId="{112D511C-1AE2-2AD8-9B0D-037504726557}"/>
          </ac:grpSpMkLst>
        </pc:grpChg>
        <pc:grpChg chg="add mod">
          <ac:chgData name="vonWaldow, Ulrich" userId="c64b3fe1-2fbf-4408-adc4-30add62e991f" providerId="ADAL" clId="{B99A90B8-7D29-4456-AFD4-0F3DBA13A596}" dt="2024-08-26T11:17:08.577" v="9995" actId="164"/>
          <ac:grpSpMkLst>
            <pc:docMk/>
            <pc:sldMk cId="671699751" sldId="1656"/>
            <ac:grpSpMk id="92" creationId="{0D3C13A7-A258-CCEA-040C-3A6EDE9F57C7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14:11.217" v="9768"/>
          <ac:graphicFrameMkLst>
            <pc:docMk/>
            <pc:sldMk cId="671699751" sldId="1656"/>
            <ac:graphicFrameMk id="59" creationId="{1C9714F1-9DA0-3241-D878-0CAE542891AD}"/>
          </ac:graphicFrameMkLst>
        </pc:graphicFrameChg>
      </pc:sldChg>
      <pc:sldChg chg="addSp delSp modSp new mod ord modClrScheme chgLayout">
        <pc:chgData name="vonWaldow, Ulrich" userId="c64b3fe1-2fbf-4408-adc4-30add62e991f" providerId="ADAL" clId="{B99A90B8-7D29-4456-AFD4-0F3DBA13A596}" dt="2024-09-03T12:07:21.920" v="111330"/>
        <pc:sldMkLst>
          <pc:docMk/>
          <pc:sldMk cId="3389240722" sldId="1657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3389240722" sldId="1657"/>
            <ac:spMk id="2" creationId="{461A400F-D830-DB68-BE34-837842BA2BB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" creationId="{524535D2-9BF5-85CB-C5C3-7C20E357E16F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" creationId="{BB3E6D7E-D1FA-C21D-F959-71AF45860F19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" creationId="{22F507A8-2A74-FEBA-9671-1C56E94BB86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" creationId="{A07E3313-3ACC-7FFD-7696-ED3196966EF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" creationId="{64DA1F49-1E1B-5305-8B3A-F1511A7B991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8" creationId="{2D11917E-8EF9-F504-E63A-1FAC168BE59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9" creationId="{E9BC1872-0386-29BA-8202-204A07628F2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0" creationId="{C14E9C09-C3CA-C59C-9CE4-5446EF40FC5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1" creationId="{1035751F-E70C-6426-7333-9D78D59E358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2" creationId="{973F4F28-97C7-B02C-03CB-5B41403A4F4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3" creationId="{67167C90-4E5E-4B2C-2CAC-8D29CED659C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4" creationId="{A41EAF64-724F-0DDB-15B7-40FF569F101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5" creationId="{1405C2E2-7905-0EA3-B67D-154BC6EC8BC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6" creationId="{6B8BF175-0CE9-513B-11F4-A5802215D17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0" creationId="{C3327B79-A9C6-4BA7-018F-EA8A3956A2D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1" creationId="{BE81FDF1-893C-7376-C24A-74AD97BA0959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2" creationId="{EA721C46-12F8-E08F-F1D8-F077C0C0FEA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3" creationId="{2A69D852-8D60-AA49-CEEF-7AB14AD2E42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4" creationId="{BE516503-4FFE-BBB0-DBF3-F56D487F6B4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5" creationId="{1732874A-4E6D-056F-93E6-0D6EEC9817D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6" creationId="{15BCE02F-76BA-BEA4-7E26-9079706D20F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7" creationId="{A4000B4F-C1BD-9A33-CF12-35316F5868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8" creationId="{513F9F05-8DE5-0B5A-2C09-D3C1646262D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9" creationId="{17C15295-0069-6049-EF2E-F52E130942F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0" creationId="{DF1C0A82-52C1-96A6-6ADA-9C85634B0D4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1" creationId="{3924A4AC-94AC-E43F-58C6-BB8C2A3DC45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2" creationId="{AEA80322-A33F-EAA0-09A1-63CC63C629D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3" creationId="{799E7AD1-2659-D219-15A4-B0D225BFEC1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4" creationId="{ECA216E2-46D3-6AFD-2C8C-2F64F8EB113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5" creationId="{B133868C-A7AA-87E6-369C-D3D2FAFE4DA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6" creationId="{95B6D614-1FAC-55D3-EDBB-B5E2D09910B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7" creationId="{AE20D432-14A4-3F9C-79E0-E216018579B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8" creationId="{BCCFAEEA-EAA7-385C-8284-90AE7172EC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9" creationId="{54F56511-9FBA-987F-CF38-2B3433763DF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0" creationId="{FC3A7036-C6FA-1EA8-9B87-45FADE6D490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1" creationId="{1C367461-D413-823B-4E68-72ED560137C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2" creationId="{B29579CE-9C2D-0B63-9646-E13BF3BA8BF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3" creationId="{5F6767BD-1162-456B-6F8C-242874EC5FBF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4" creationId="{825A1170-C990-0CAD-55E1-E11749F3979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5" creationId="{76ED4EFF-583F-4686-83CB-0D2B8F52CB74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6" creationId="{5B82A20F-3076-C0A5-59B3-2C935D5C6F4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7" creationId="{45719302-C05A-F338-2B10-5D004BCB730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8" creationId="{5942B203-F87A-CE61-15D7-91F069B84CD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9" creationId="{25959BAF-4562-11DE-AECB-93ABAA5906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0" creationId="{B554001D-6677-4CC9-6F26-F3B82C260E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1" creationId="{19799D64-4E0C-B4B3-4944-711DFCC6537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2" creationId="{4F4C73F6-43E1-413C-9C5D-3DCDAC8404F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3" creationId="{4E053DD0-8764-3C4E-0048-897F1638B17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4" creationId="{9703EC6C-A367-C99C-9FC1-75FCC2B9F5B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5" creationId="{6193ADC1-534F-525D-E9B5-FD7548906BB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6" creationId="{AADC651A-5981-DD61-375F-53DF091CEAE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7" creationId="{B9FE1B03-29A3-0235-9C6B-E0DC1BE78C2E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8" creationId="{2247464A-0595-B6FA-8C1D-DD134270F2C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9" creationId="{7239BA3C-6DEC-D885-9480-C2040FD5E16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0" creationId="{C208BE86-4910-D7AD-D9C7-3677A0A8135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1" creationId="{9218AA08-DF90-8AB0-BAC3-96E55A17C5E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2" creationId="{785BB3EF-1809-54BF-6AD5-9A9ADF3BB24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3" creationId="{1AAB7FF0-006D-5037-9C6B-3507E75F4D2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4" creationId="{1624B88E-FCAE-F280-4D08-A9F4E873237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5" creationId="{F81E9965-F78A-F248-F516-5B8ADC422C0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6" creationId="{7D8A5070-DCFC-8203-E257-BC902CB9520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7" creationId="{A54D9940-A596-E22E-0325-F2709DA24A7E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8" creationId="{BD4CD29A-C09F-FC0A-1A7A-6CD59ED78E0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9" creationId="{F9CBB882-851B-34C9-B2C1-0D6F4DE85FF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0" creationId="{1817FA6A-3960-8FC9-51EE-394EAD2359B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1" creationId="{1D73F3A4-A6B7-ADBD-B8B1-EA6F1679461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2" creationId="{33DBB755-92D2-11AD-4014-39AB5F0CD8D1}"/>
          </ac:spMkLst>
        </pc:spChg>
        <pc:spChg chg="add del mod ord topLvl">
          <ac:chgData name="vonWaldow, Ulrich" userId="c64b3fe1-2fbf-4408-adc4-30add62e991f" providerId="ADAL" clId="{B99A90B8-7D29-4456-AFD4-0F3DBA13A596}" dt="2024-08-26T11:10:19.259" v="9321" actId="478"/>
          <ac:spMkLst>
            <pc:docMk/>
            <pc:sldMk cId="3389240722" sldId="1657"/>
            <ac:spMk id="76" creationId="{B569B40D-9FEA-83CC-4493-C82F7083CD3D}"/>
          </ac:spMkLst>
        </pc:spChg>
        <pc:spChg chg="add del mod topLvl">
          <ac:chgData name="vonWaldow, Ulrich" userId="c64b3fe1-2fbf-4408-adc4-30add62e991f" providerId="ADAL" clId="{B99A90B8-7D29-4456-AFD4-0F3DBA13A596}" dt="2024-08-26T11:12:30.177" v="9651" actId="478"/>
          <ac:spMkLst>
            <pc:docMk/>
            <pc:sldMk cId="3389240722" sldId="1657"/>
            <ac:spMk id="77" creationId="{777B9B11-3EB2-EB2B-E4A1-2CB8EEAED87D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397"/>
          <ac:spMkLst>
            <pc:docMk/>
            <pc:sldMk cId="3389240722" sldId="1657"/>
            <ac:spMk id="78" creationId="{78EB6CDF-A38B-2A92-AEE4-3EE1C5FA5946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399"/>
          <ac:spMkLst>
            <pc:docMk/>
            <pc:sldMk cId="3389240722" sldId="1657"/>
            <ac:spMk id="79" creationId="{039F8433-F05A-350B-B007-6222E8F27CF2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401"/>
          <ac:spMkLst>
            <pc:docMk/>
            <pc:sldMk cId="3389240722" sldId="1657"/>
            <ac:spMk id="80" creationId="{BCFA9DA6-FD4C-57AC-8334-83E4A8122AB8}"/>
          </ac:spMkLst>
        </pc:spChg>
        <pc:spChg chg="add mod topLvl">
          <ac:chgData name="vonWaldow, Ulrich" userId="c64b3fe1-2fbf-4408-adc4-30add62e991f" providerId="ADAL" clId="{B99A90B8-7D29-4456-AFD4-0F3DBA13A596}" dt="2024-08-26T11:30:44.122" v="31466"/>
          <ac:spMkLst>
            <pc:docMk/>
            <pc:sldMk cId="3389240722" sldId="1657"/>
            <ac:spMk id="81" creationId="{E5BD594C-7EDA-FEC9-AD70-C4F6E22AF127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2" creationId="{226D3C2E-8D51-0D10-2EE4-2DB4EE170B0F}"/>
          </ac:spMkLst>
        </pc:spChg>
        <pc:spChg chg="add mod ord topLvl">
          <ac:chgData name="vonWaldow, Ulrich" userId="c64b3fe1-2fbf-4408-adc4-30add62e991f" providerId="ADAL" clId="{B99A90B8-7D29-4456-AFD4-0F3DBA13A596}" dt="2024-08-26T11:30:44.122" v="31465"/>
          <ac:spMkLst>
            <pc:docMk/>
            <pc:sldMk cId="3389240722" sldId="1657"/>
            <ac:spMk id="83" creationId="{8E8BF66D-87D6-D8C9-C153-D628A8682E5C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4" creationId="{6EC7C9E7-824B-D8AC-1273-D04C55652672}"/>
          </ac:spMkLst>
        </pc:spChg>
        <pc:spChg chg="add mod ord topLvl">
          <ac:chgData name="vonWaldow, Ulrich" userId="c64b3fe1-2fbf-4408-adc4-30add62e991f" providerId="ADAL" clId="{B99A90B8-7D29-4456-AFD4-0F3DBA13A596}" dt="2024-08-26T11:30:52.694" v="31473" actId="408"/>
          <ac:spMkLst>
            <pc:docMk/>
            <pc:sldMk cId="3389240722" sldId="1657"/>
            <ac:spMk id="85" creationId="{7A1960FF-A2CA-B74B-8F72-6203F824D9DE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6" creationId="{61B2B72A-ABB7-E0DF-C494-0C3EB6B0599D}"/>
          </ac:spMkLst>
        </pc:spChg>
        <pc:spChg chg="add mod ord topLvl">
          <ac:chgData name="vonWaldow, Ulrich" userId="c64b3fe1-2fbf-4408-adc4-30add62e991f" providerId="ADAL" clId="{B99A90B8-7D29-4456-AFD4-0F3DBA13A596}" dt="2024-08-26T11:30:49.472" v="31471"/>
          <ac:spMkLst>
            <pc:docMk/>
            <pc:sldMk cId="3389240722" sldId="1657"/>
            <ac:spMk id="87" creationId="{1517A41E-194B-5683-51E6-22296764FB5C}"/>
          </ac:spMkLst>
        </pc:spChg>
        <pc:spChg chg="add mod topLvl">
          <ac:chgData name="vonWaldow, Ulrich" userId="c64b3fe1-2fbf-4408-adc4-30add62e991f" providerId="ADAL" clId="{B99A90B8-7D29-4456-AFD4-0F3DBA13A596}" dt="2024-08-26T11:30:55.717" v="31474"/>
          <ac:spMkLst>
            <pc:docMk/>
            <pc:sldMk cId="3389240722" sldId="1657"/>
            <ac:spMk id="88" creationId="{A2B7F8CB-809D-5D16-22BE-F2E6B981BED5}"/>
          </ac:spMkLst>
        </pc:spChg>
        <pc:spChg chg="add mod topLvl">
          <ac:chgData name="vonWaldow, Ulrich" userId="c64b3fe1-2fbf-4408-adc4-30add62e991f" providerId="ADAL" clId="{B99A90B8-7D29-4456-AFD4-0F3DBA13A596}" dt="2024-08-26T11:30:49.472" v="31472"/>
          <ac:spMkLst>
            <pc:docMk/>
            <pc:sldMk cId="3389240722" sldId="1657"/>
            <ac:spMk id="89" creationId="{01C7664C-D4CE-6042-8220-CA3CED3E73C0}"/>
          </ac:spMkLst>
        </pc:spChg>
        <pc:spChg chg="add del mod topLvl">
          <ac:chgData name="vonWaldow, Ulrich" userId="c64b3fe1-2fbf-4408-adc4-30add62e991f" providerId="ADAL" clId="{B99A90B8-7D29-4456-AFD4-0F3DBA13A596}" dt="2024-08-26T11:07:23.189" v="2227" actId="478"/>
          <ac:spMkLst>
            <pc:docMk/>
            <pc:sldMk cId="3389240722" sldId="1657"/>
            <ac:spMk id="93" creationId="{CA621251-C641-346A-1E49-313874CE113C}"/>
          </ac:spMkLst>
        </pc:spChg>
        <pc:spChg chg="add del mod topLvl">
          <ac:chgData name="vonWaldow, Ulrich" userId="c64b3fe1-2fbf-4408-adc4-30add62e991f" providerId="ADAL" clId="{B99A90B8-7D29-4456-AFD4-0F3DBA13A596}" dt="2024-08-26T11:07:22.043" v="2226" actId="478"/>
          <ac:spMkLst>
            <pc:docMk/>
            <pc:sldMk cId="3389240722" sldId="1657"/>
            <ac:spMk id="94" creationId="{5169F582-2CAF-7EFE-7639-2E05BA4BB2CD}"/>
          </ac:spMkLst>
        </pc:spChg>
        <pc:spChg chg="add del mod topLvl">
          <ac:chgData name="vonWaldow, Ulrich" userId="c64b3fe1-2fbf-4408-adc4-30add62e991f" providerId="ADAL" clId="{B99A90B8-7D29-4456-AFD4-0F3DBA13A596}" dt="2024-08-26T11:07:21.119" v="2225" actId="478"/>
          <ac:spMkLst>
            <pc:docMk/>
            <pc:sldMk cId="3389240722" sldId="1657"/>
            <ac:spMk id="95" creationId="{80380A9E-C11F-C0DB-9678-828981635FA3}"/>
          </ac:spMkLst>
        </pc:spChg>
        <pc:spChg chg="add mod topLvl">
          <ac:chgData name="vonWaldow, Ulrich" userId="c64b3fe1-2fbf-4408-adc4-30add62e991f" providerId="ADAL" clId="{B99A90B8-7D29-4456-AFD4-0F3DBA13A596}" dt="2024-08-26T11:30:42.069" v="31414"/>
          <ac:spMkLst>
            <pc:docMk/>
            <pc:sldMk cId="3389240722" sldId="1657"/>
            <ac:spMk id="96" creationId="{226667F9-FC44-E125-EFAE-3D2F33118DF4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97" creationId="{18F2D65D-F6AD-87A2-4B58-049395F15069}"/>
          </ac:spMkLst>
        </pc:spChg>
        <pc:spChg chg="add mod ord topLvl">
          <ac:chgData name="vonWaldow, Ulrich" userId="c64b3fe1-2fbf-4408-adc4-30add62e991f" providerId="ADAL" clId="{B99A90B8-7D29-4456-AFD4-0F3DBA13A596}" dt="2024-08-26T11:30:42.069" v="31416"/>
          <ac:spMkLst>
            <pc:docMk/>
            <pc:sldMk cId="3389240722" sldId="1657"/>
            <ac:spMk id="98" creationId="{10873BC6-08EF-55CB-F4C7-73890C6F4DBD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99" creationId="{1B391624-3C7A-1BFB-0B06-ACF1E9AFE9DD}"/>
          </ac:spMkLst>
        </pc:spChg>
        <pc:spChg chg="add mod ord topLvl">
          <ac:chgData name="vonWaldow, Ulrich" userId="c64b3fe1-2fbf-4408-adc4-30add62e991f" providerId="ADAL" clId="{B99A90B8-7D29-4456-AFD4-0F3DBA13A596}" dt="2024-08-26T11:30:55.717" v="31477"/>
          <ac:spMkLst>
            <pc:docMk/>
            <pc:sldMk cId="3389240722" sldId="1657"/>
            <ac:spMk id="100" creationId="{2B3BE955-7E53-14A2-0905-0810D0BF93EF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101" creationId="{852F1242-3030-8B70-225F-3BE4CB2F6FD5}"/>
          </ac:spMkLst>
        </pc:spChg>
        <pc:spChg chg="add mod ord topLvl">
          <ac:chgData name="vonWaldow, Ulrich" userId="c64b3fe1-2fbf-4408-adc4-30add62e991f" providerId="ADAL" clId="{B99A90B8-7D29-4456-AFD4-0F3DBA13A596}" dt="2024-08-26T11:30:49.472" v="31469"/>
          <ac:spMkLst>
            <pc:docMk/>
            <pc:sldMk cId="3389240722" sldId="1657"/>
            <ac:spMk id="102" creationId="{E1116647-17B7-F12B-CE91-2465EFAD0CEE}"/>
          </ac:spMkLst>
        </pc:spChg>
        <pc:spChg chg="add mod topLvl">
          <ac:chgData name="vonWaldow, Ulrich" userId="c64b3fe1-2fbf-4408-adc4-30add62e991f" providerId="ADAL" clId="{B99A90B8-7D29-4456-AFD4-0F3DBA13A596}" dt="2024-08-26T11:30:55.717" v="31475"/>
          <ac:spMkLst>
            <pc:docMk/>
            <pc:sldMk cId="3389240722" sldId="1657"/>
            <ac:spMk id="103" creationId="{75FE7D33-E1CA-902C-EA58-4619F1750E0C}"/>
          </ac:spMkLst>
        </pc:spChg>
        <pc:spChg chg="add mod topLvl">
          <ac:chgData name="vonWaldow, Ulrich" userId="c64b3fe1-2fbf-4408-adc4-30add62e991f" providerId="ADAL" clId="{B99A90B8-7D29-4456-AFD4-0F3DBA13A596}" dt="2024-08-26T11:30:46.973" v="31467"/>
          <ac:spMkLst>
            <pc:docMk/>
            <pc:sldMk cId="3389240722" sldId="1657"/>
            <ac:spMk id="104" creationId="{4BF86BF9-4CA8-B68B-BEF3-5363AEB12B1B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5" creationId="{10D804A3-9B2F-3E8A-2B82-C178CF5DF348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6" creationId="{97A6C373-49DA-9A19-5027-218336A114F8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7" creationId="{0D1E3D4D-59F6-7312-D168-EB07B758879B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8" creationId="{EFB92DDB-5A0B-8D5A-C0E1-347ADEC42254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9" creationId="{A6573648-E28E-F31D-25E8-E1CCF2B4C332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0" creationId="{3EA1C1A8-DE6B-0BD1-C906-B39300AF62C2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1" creationId="{947E53A8-F320-7D78-D618-8650841F8934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2" creationId="{A9C323AC-6975-D81E-E114-F7F2AFB63BFA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3" creationId="{531A1E19-9F0A-7880-C98E-E82EB85F1F51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4" creationId="{A1A6C953-2FE0-A25E-EC1F-F6BE827987CA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5" creationId="{3C34DC81-E9FF-DD86-3105-EE0AD5FA0099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6" creationId="{10DF5397-20BA-BD9E-F6C9-6DE0F2859545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7" creationId="{1E51D42D-5986-9323-6053-FA3FED5B9593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8" creationId="{59706115-6E19-7264-5E29-74B6161A9553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9" creationId="{839F08A3-9274-E9E8-C96C-9575A3A66847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0" creationId="{D2E98389-C9E7-A3A7-F2DA-5830ED41E3B4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1" creationId="{D9445F8A-6110-CBE9-6454-C54AB6688291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2" creationId="{6252003B-8060-4ED5-3BBB-FEAA2F974F1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3" creationId="{2186C15E-55ED-6C9E-4135-6D24353E2DF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4" creationId="{9E602F86-E27E-643C-6ACE-7E087A7B6258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5" creationId="{60F90F3A-7A9D-7FAE-72A0-C1A328F886D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6" creationId="{80236175-8788-56BF-BADF-131648B163C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7" creationId="{B3776095-AAF9-D49A-FE10-CA0D1392D49B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8" creationId="{2339BC75-4E2D-6548-0200-A39C5BEBE25F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9" creationId="{0087A25A-923A-210F-497F-7B235E5E520F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0" creationId="{CCAB43BF-A508-D19E-A5BC-123B391639A6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1" creationId="{A638C822-C62D-06D7-214D-CD9E9E55E525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2" creationId="{C424BD67-9337-35CE-AC88-847CF77DBBF2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3" creationId="{0224F5A8-C95E-18C3-B3C9-5B608E75214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4" creationId="{A8FDD7D5-A376-D3B9-3D40-2BA6B01DBFB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5" creationId="{2A0D0441-085C-F42E-FFE3-7F26F436B48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6" creationId="{CF3FAA20-EF46-6013-DDF0-93EF7DD673E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7" creationId="{13992CB9-D594-0705-87B1-4E02C274BBA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8" creationId="{18D935E1-57DB-606A-E282-56EAB54CA51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9" creationId="{2A61BD23-08D5-EDD1-44E9-0E052B4259D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0" creationId="{ECFB2536-86FC-C04C-DEE2-CEB67FCA02C2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1" creationId="{4393E65C-8910-7017-C57E-C2590050D5A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2" creationId="{1CA6FE84-34FE-3D32-6BEC-523173548D0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3" creationId="{083085A5-7EAE-6206-CEAE-6AF2BD647703}"/>
          </ac:spMkLst>
        </pc:spChg>
        <pc:spChg chg="add mod topLvl">
          <ac:chgData name="vonWaldow, Ulrich" userId="c64b3fe1-2fbf-4408-adc4-30add62e991f" providerId="ADAL" clId="{B99A90B8-7D29-4456-AFD4-0F3DBA13A596}" dt="2024-08-28T07:44:04.887" v="105518"/>
          <ac:spMkLst>
            <pc:docMk/>
            <pc:sldMk cId="3389240722" sldId="1657"/>
            <ac:spMk id="144" creationId="{15E1DE37-E6BE-0253-11E0-731BD263E9F8}"/>
          </ac:spMkLst>
        </pc:spChg>
        <pc:spChg chg="add mod topLvl">
          <ac:chgData name="vonWaldow, Ulrich" userId="c64b3fe1-2fbf-4408-adc4-30add62e991f" providerId="ADAL" clId="{B99A90B8-7D29-4456-AFD4-0F3DBA13A596}" dt="2024-09-03T12:07:21.920" v="111330"/>
          <ac:spMkLst>
            <pc:docMk/>
            <pc:sldMk cId="3389240722" sldId="1657"/>
            <ac:spMk id="145" creationId="{436C319B-EC7B-F54C-DD64-5F825C52A02F}"/>
          </ac:spMkLst>
        </pc:spChg>
        <pc:spChg chg="add del mod modVis">
          <ac:chgData name="vonWaldow, Ulrich" userId="c64b3fe1-2fbf-4408-adc4-30add62e991f" providerId="ADAL" clId="{B99A90B8-7D29-4456-AFD4-0F3DBA13A596}" dt="2024-08-26T09:58:58.648" v="1434"/>
          <ac:spMkLst>
            <pc:docMk/>
            <pc:sldMk cId="3389240722" sldId="1657"/>
            <ac:spMk id="150" creationId="{6DC7B5E0-D7F7-7D56-06EA-89C76F5AB7FA}"/>
          </ac:spMkLst>
        </pc:spChg>
        <pc:spChg chg="add del mod replST">
          <ac:chgData name="vonWaldow, Ulrich" userId="c64b3fe1-2fbf-4408-adc4-30add62e991f" providerId="ADAL" clId="{B99A90B8-7D29-4456-AFD4-0F3DBA13A596}" dt="2024-08-26T11:12:16.685" v="9371"/>
          <ac:spMkLst>
            <pc:docMk/>
            <pc:sldMk cId="3389240722" sldId="1657"/>
            <ac:spMk id="15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7:42.981" v="2667"/>
          <ac:spMkLst>
            <pc:docMk/>
            <pc:sldMk cId="3389240722" sldId="1657"/>
            <ac:spMk id="155" creationId="{43A66974-C63A-9886-75FE-707AE9A095C2}"/>
          </ac:spMkLst>
        </pc:spChg>
        <pc:spChg chg="add del mod replST">
          <ac:chgData name="vonWaldow, Ulrich" userId="c64b3fe1-2fbf-4408-adc4-30add62e991f" providerId="ADAL" clId="{B99A90B8-7D29-4456-AFD4-0F3DBA13A596}" dt="2024-08-26T11:07:51.055" v="2672"/>
          <ac:spMkLst>
            <pc:docMk/>
            <pc:sldMk cId="3389240722" sldId="1657"/>
            <ac:spMk id="15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0"/>
          <ac:spMkLst>
            <pc:docMk/>
            <pc:sldMk cId="3389240722" sldId="1657"/>
            <ac:spMk id="15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7:54.547" v="2824"/>
          <ac:spMkLst>
            <pc:docMk/>
            <pc:sldMk cId="3389240722" sldId="1657"/>
            <ac:spMk id="15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7:54.547" v="2826"/>
          <ac:spMkLst>
            <pc:docMk/>
            <pc:sldMk cId="3389240722" sldId="1657"/>
            <ac:spMk id="15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12:16.670" v="9370"/>
          <ac:spMkLst>
            <pc:docMk/>
            <pc:sldMk cId="3389240722" sldId="1657"/>
            <ac:spMk id="161" creationId="{B4612926-F23F-F18F-FDE9-43D56A71EE22}"/>
          </ac:spMkLst>
        </pc:spChg>
        <pc:spChg chg="add del mod ord replST">
          <ac:chgData name="vonWaldow, Ulrich" userId="c64b3fe1-2fbf-4408-adc4-30add62e991f" providerId="ADAL" clId="{B99A90B8-7D29-4456-AFD4-0F3DBA13A596}" dt="2024-08-26T11:07:51.055" v="2671"/>
          <ac:spMkLst>
            <pc:docMk/>
            <pc:sldMk cId="3389240722" sldId="1657"/>
            <ac:spMk id="162" creationId="{9CD0DD81-450A-2929-9002-1239A898D532}"/>
          </ac:spMkLst>
        </pc:spChg>
        <pc:spChg chg="add del mod modVis">
          <ac:chgData name="vonWaldow, Ulrich" userId="c64b3fe1-2fbf-4408-adc4-30add62e991f" providerId="ADAL" clId="{B99A90B8-7D29-4456-AFD4-0F3DBA13A596}" dt="2024-08-26T11:07:54.610" v="2929"/>
          <ac:spMkLst>
            <pc:docMk/>
            <pc:sldMk cId="3389240722" sldId="1657"/>
            <ac:spMk id="164" creationId="{C20B4516-D9FA-0DBF-535B-A0018DE490B8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1"/>
          <ac:spMkLst>
            <pc:docMk/>
            <pc:sldMk cId="3389240722" sldId="1657"/>
            <ac:spMk id="166" creationId="{2AD61FE4-6F1B-4526-85DB-95F8A37005F7}"/>
          </ac:spMkLst>
        </pc:spChg>
        <pc:spChg chg="add del mod modVis">
          <ac:chgData name="vonWaldow, Ulrich" userId="c64b3fe1-2fbf-4408-adc4-30add62e991f" providerId="ADAL" clId="{B99A90B8-7D29-4456-AFD4-0F3DBA13A596}" dt="2024-08-26T11:07:59.847" v="3069"/>
          <ac:spMkLst>
            <pc:docMk/>
            <pc:sldMk cId="3389240722" sldId="1657"/>
            <ac:spMk id="167" creationId="{373874B3-EAE8-1EB1-C97A-3CF69D3503FB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2"/>
          <ac:spMkLst>
            <pc:docMk/>
            <pc:sldMk cId="3389240722" sldId="1657"/>
            <ac:spMk id="169" creationId="{C8FABE20-AAD0-CA54-E7C1-A5B76741037C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3"/>
          <ac:spMkLst>
            <pc:docMk/>
            <pc:sldMk cId="3389240722" sldId="1657"/>
            <ac:spMk id="170" creationId="{90CCD4F0-4C2B-73A1-5C11-EF79E88FFDD6}"/>
          </ac:spMkLst>
        </pc:spChg>
        <pc:spChg chg="add del mod modVis">
          <ac:chgData name="vonWaldow, Ulrich" userId="c64b3fe1-2fbf-4408-adc4-30add62e991f" providerId="ADAL" clId="{B99A90B8-7D29-4456-AFD4-0F3DBA13A596}" dt="2024-08-26T11:08:01.206" v="3237"/>
          <ac:spMkLst>
            <pc:docMk/>
            <pc:sldMk cId="3389240722" sldId="1657"/>
            <ac:spMk id="171" creationId="{31B6EE9B-AAAA-928E-99EB-A06FC61217B6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4"/>
          <ac:spMkLst>
            <pc:docMk/>
            <pc:sldMk cId="3389240722" sldId="1657"/>
            <ac:spMk id="173" creationId="{CDA66EA8-7BBD-A938-68CC-46BBCE7B728F}"/>
          </ac:spMkLst>
        </pc:spChg>
        <pc:spChg chg="add del mod modVis">
          <ac:chgData name="vonWaldow, Ulrich" userId="c64b3fe1-2fbf-4408-adc4-30add62e991f" providerId="ADAL" clId="{B99A90B8-7D29-4456-AFD4-0F3DBA13A596}" dt="2024-08-26T11:08:01.969" v="3391"/>
          <ac:spMkLst>
            <pc:docMk/>
            <pc:sldMk cId="3389240722" sldId="1657"/>
            <ac:spMk id="174" creationId="{2D8C2290-EBC9-D606-5934-AA1A13EA00D8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5"/>
          <ac:spMkLst>
            <pc:docMk/>
            <pc:sldMk cId="3389240722" sldId="1657"/>
            <ac:spMk id="176" creationId="{CE744F90-A7D5-B9BB-2196-D3FFA962CAE0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6"/>
          <ac:spMkLst>
            <pc:docMk/>
            <pc:sldMk cId="3389240722" sldId="1657"/>
            <ac:spMk id="177" creationId="{D6A5A1BA-860C-638A-BF63-E669383E9FF1}"/>
          </ac:spMkLst>
        </pc:spChg>
        <pc:spChg chg="add del mod modVis">
          <ac:chgData name="vonWaldow, Ulrich" userId="c64b3fe1-2fbf-4408-adc4-30add62e991f" providerId="ADAL" clId="{B99A90B8-7D29-4456-AFD4-0F3DBA13A596}" dt="2024-08-26T11:08:03.022" v="3575"/>
          <ac:spMkLst>
            <pc:docMk/>
            <pc:sldMk cId="3389240722" sldId="1657"/>
            <ac:spMk id="178" creationId="{87AF789E-4278-DA67-D6C2-660576245ACF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7"/>
          <ac:spMkLst>
            <pc:docMk/>
            <pc:sldMk cId="3389240722" sldId="1657"/>
            <ac:spMk id="180" creationId="{2373E665-4942-0721-BAB0-BE5DD0AFC291}"/>
          </ac:spMkLst>
        </pc:spChg>
        <pc:spChg chg="add del mod modVis">
          <ac:chgData name="vonWaldow, Ulrich" userId="c64b3fe1-2fbf-4408-adc4-30add62e991f" providerId="ADAL" clId="{B99A90B8-7D29-4456-AFD4-0F3DBA13A596}" dt="2024-08-26T11:08:04.484" v="3741"/>
          <ac:spMkLst>
            <pc:docMk/>
            <pc:sldMk cId="3389240722" sldId="1657"/>
            <ac:spMk id="181" creationId="{CB682EF1-078F-A4F4-1730-1E7A1C14F6FD}"/>
          </ac:spMkLst>
        </pc:spChg>
        <pc:spChg chg="add del mod modVis">
          <ac:chgData name="vonWaldow, Ulrich" userId="c64b3fe1-2fbf-4408-adc4-30add62e991f" providerId="ADAL" clId="{B99A90B8-7D29-4456-AFD4-0F3DBA13A596}" dt="2024-08-26T11:08:07.320" v="3877"/>
          <ac:spMkLst>
            <pc:docMk/>
            <pc:sldMk cId="3389240722" sldId="1657"/>
            <ac:spMk id="183" creationId="{0D08BE10-65C0-4974-72D7-0BF2376D2956}"/>
          </ac:spMkLst>
        </pc:spChg>
        <pc:spChg chg="add del mod modVis">
          <ac:chgData name="vonWaldow, Ulrich" userId="c64b3fe1-2fbf-4408-adc4-30add62e991f" providerId="ADAL" clId="{B99A90B8-7D29-4456-AFD4-0F3DBA13A596}" dt="2024-08-26T11:08:11.195" v="4013"/>
          <ac:spMkLst>
            <pc:docMk/>
            <pc:sldMk cId="3389240722" sldId="1657"/>
            <ac:spMk id="185" creationId="{F2D21E50-DC24-1688-C6BC-6BAF3D3108FA}"/>
          </ac:spMkLst>
        </pc:spChg>
        <pc:spChg chg="add del mod modVis">
          <ac:chgData name="vonWaldow, Ulrich" userId="c64b3fe1-2fbf-4408-adc4-30add62e991f" providerId="ADAL" clId="{B99A90B8-7D29-4456-AFD4-0F3DBA13A596}" dt="2024-08-26T11:08:15.385" v="4149"/>
          <ac:spMkLst>
            <pc:docMk/>
            <pc:sldMk cId="3389240722" sldId="1657"/>
            <ac:spMk id="187" creationId="{43CEF141-346C-A6C4-9354-FECA7542A1C5}"/>
          </ac:spMkLst>
        </pc:spChg>
        <pc:spChg chg="add del mod modVis">
          <ac:chgData name="vonWaldow, Ulrich" userId="c64b3fe1-2fbf-4408-adc4-30add62e991f" providerId="ADAL" clId="{B99A90B8-7D29-4456-AFD4-0F3DBA13A596}" dt="2024-08-26T11:08:26.738" v="4403"/>
          <ac:spMkLst>
            <pc:docMk/>
            <pc:sldMk cId="3389240722" sldId="1657"/>
            <ac:spMk id="190" creationId="{14BB1CDD-F3D3-9138-155A-EF6E7F808845}"/>
          </ac:spMkLst>
        </pc:spChg>
        <pc:spChg chg="add del mod modVis">
          <ac:chgData name="vonWaldow, Ulrich" userId="c64b3fe1-2fbf-4408-adc4-30add62e991f" providerId="ADAL" clId="{B99A90B8-7D29-4456-AFD4-0F3DBA13A596}" dt="2024-08-26T11:08:33.092" v="4539"/>
          <ac:spMkLst>
            <pc:docMk/>
            <pc:sldMk cId="3389240722" sldId="1657"/>
            <ac:spMk id="192" creationId="{6224A000-3D3F-2CE7-D952-2236F4BDDAC9}"/>
          </ac:spMkLst>
        </pc:spChg>
        <pc:spChg chg="add del mod modVis">
          <ac:chgData name="vonWaldow, Ulrich" userId="c64b3fe1-2fbf-4408-adc4-30add62e991f" providerId="ADAL" clId="{B99A90B8-7D29-4456-AFD4-0F3DBA13A596}" dt="2024-08-26T11:08:35.423" v="4675"/>
          <ac:spMkLst>
            <pc:docMk/>
            <pc:sldMk cId="3389240722" sldId="1657"/>
            <ac:spMk id="194" creationId="{2F73FC22-4E2C-232B-8D0D-FB10E3860D9E}"/>
          </ac:spMkLst>
        </pc:spChg>
        <pc:spChg chg="add del mod modVis">
          <ac:chgData name="vonWaldow, Ulrich" userId="c64b3fe1-2fbf-4408-adc4-30add62e991f" providerId="ADAL" clId="{B99A90B8-7D29-4456-AFD4-0F3DBA13A596}" dt="2024-08-26T11:08:37.184" v="4811"/>
          <ac:spMkLst>
            <pc:docMk/>
            <pc:sldMk cId="3389240722" sldId="1657"/>
            <ac:spMk id="196" creationId="{7003F17A-E58D-0397-D4DA-102BF8CFB23C}"/>
          </ac:spMkLst>
        </pc:spChg>
        <pc:spChg chg="add del mod modVis">
          <ac:chgData name="vonWaldow, Ulrich" userId="c64b3fe1-2fbf-4408-adc4-30add62e991f" providerId="ADAL" clId="{B99A90B8-7D29-4456-AFD4-0F3DBA13A596}" dt="2024-08-26T11:08:43.483" v="4947"/>
          <ac:spMkLst>
            <pc:docMk/>
            <pc:sldMk cId="3389240722" sldId="1657"/>
            <ac:spMk id="198" creationId="{E50C9C2B-1A8F-2045-DB08-FF3273EC4A37}"/>
          </ac:spMkLst>
        </pc:spChg>
        <pc:spChg chg="add del mod modVis">
          <ac:chgData name="vonWaldow, Ulrich" userId="c64b3fe1-2fbf-4408-adc4-30add62e991f" providerId="ADAL" clId="{B99A90B8-7D29-4456-AFD4-0F3DBA13A596}" dt="2024-08-26T11:09:21.186" v="5993"/>
          <ac:spMkLst>
            <pc:docMk/>
            <pc:sldMk cId="3389240722" sldId="1657"/>
            <ac:spMk id="207" creationId="{A61F34EF-B4FE-96A2-82BD-1290DEB90155}"/>
          </ac:spMkLst>
        </pc:spChg>
        <pc:spChg chg="add del mod replST">
          <ac:chgData name="vonWaldow, Ulrich" userId="c64b3fe1-2fbf-4408-adc4-30add62e991f" providerId="ADAL" clId="{B99A90B8-7D29-4456-AFD4-0F3DBA13A596}" dt="2024-08-26T11:09:27.192" v="6174"/>
          <ac:spMkLst>
            <pc:docMk/>
            <pc:sldMk cId="3389240722" sldId="1657"/>
            <ac:spMk id="20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26.187" v="6160"/>
          <ac:spMkLst>
            <pc:docMk/>
            <pc:sldMk cId="3389240722" sldId="1657"/>
            <ac:spMk id="210" creationId="{0B4743AC-AD8A-0CF6-9623-075DA9FED470}"/>
          </ac:spMkLst>
        </pc:spChg>
        <pc:spChg chg="add del mod modVis">
          <ac:chgData name="vonWaldow, Ulrich" userId="c64b3fe1-2fbf-4408-adc4-30add62e991f" providerId="ADAL" clId="{B99A90B8-7D29-4456-AFD4-0F3DBA13A596}" dt="2024-08-26T11:09:35.002" v="6485"/>
          <ac:spMkLst>
            <pc:docMk/>
            <pc:sldMk cId="3389240722" sldId="1657"/>
            <ac:spMk id="214" creationId="{69978C54-0DC0-7CE2-8184-B2E49E984F5E}"/>
          </ac:spMkLst>
        </pc:spChg>
        <pc:spChg chg="add del mod modVis">
          <ac:chgData name="vonWaldow, Ulrich" userId="c64b3fe1-2fbf-4408-adc4-30add62e991f" providerId="ADAL" clId="{B99A90B8-7D29-4456-AFD4-0F3DBA13A596}" dt="2024-08-26T11:09:37.421" v="6679"/>
          <ac:spMkLst>
            <pc:docMk/>
            <pc:sldMk cId="3389240722" sldId="1657"/>
            <ac:spMk id="216" creationId="{CB26DA18-C37E-E6A4-4848-5E87A9522920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49"/>
          <ac:spMkLst>
            <pc:docMk/>
            <pc:sldMk cId="3389240722" sldId="1657"/>
            <ac:spMk id="21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44.315" v="6832"/>
          <ac:spMkLst>
            <pc:docMk/>
            <pc:sldMk cId="3389240722" sldId="1657"/>
            <ac:spMk id="219" creationId="{E459315D-6F6B-13C5-2326-59DA3F70A7D8}"/>
          </ac:spMkLst>
        </pc:spChg>
        <pc:spChg chg="add del mod modVis">
          <ac:chgData name="vonWaldow, Ulrich" userId="c64b3fe1-2fbf-4408-adc4-30add62e991f" providerId="ADAL" clId="{B99A90B8-7D29-4456-AFD4-0F3DBA13A596}" dt="2024-08-26T11:09:45.118" v="6962"/>
          <ac:spMkLst>
            <pc:docMk/>
            <pc:sldMk cId="3389240722" sldId="1657"/>
            <ac:spMk id="221" creationId="{AB5A75F6-A30C-64F3-D1AD-E8B11704B44A}"/>
          </ac:spMkLst>
        </pc:spChg>
        <pc:spChg chg="add del mod modVis">
          <ac:chgData name="vonWaldow, Ulrich" userId="c64b3fe1-2fbf-4408-adc4-30add62e991f" providerId="ADAL" clId="{B99A90B8-7D29-4456-AFD4-0F3DBA13A596}" dt="2024-08-26T11:09:47.288" v="7441"/>
          <ac:spMkLst>
            <pc:docMk/>
            <pc:sldMk cId="3389240722" sldId="1657"/>
            <ac:spMk id="223" creationId="{D1A4C832-1B33-9EFF-3C73-3BDD9F5C059A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1"/>
          <ac:spMkLst>
            <pc:docMk/>
            <pc:sldMk cId="3389240722" sldId="1657"/>
            <ac:spMk id="2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2"/>
          <ac:spMkLst>
            <pc:docMk/>
            <pc:sldMk cId="3389240722" sldId="1657"/>
            <ac:spMk id="2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3"/>
          <ac:spMkLst>
            <pc:docMk/>
            <pc:sldMk cId="3389240722" sldId="1657"/>
            <ac:spMk id="2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4"/>
          <ac:spMkLst>
            <pc:docMk/>
            <pc:sldMk cId="3389240722" sldId="1657"/>
            <ac:spMk id="2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5"/>
          <ac:spMkLst>
            <pc:docMk/>
            <pc:sldMk cId="3389240722" sldId="1657"/>
            <ac:spMk id="2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6"/>
          <ac:spMkLst>
            <pc:docMk/>
            <pc:sldMk cId="3389240722" sldId="1657"/>
            <ac:spMk id="22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48.182" v="7580"/>
          <ac:spMkLst>
            <pc:docMk/>
            <pc:sldMk cId="3389240722" sldId="1657"/>
            <ac:spMk id="231" creationId="{17AB9687-BBF1-5DA2-4B4B-E8CED5E2B40E}"/>
          </ac:spMkLst>
        </pc:spChg>
        <pc:spChg chg="add del mod modVis">
          <ac:chgData name="vonWaldow, Ulrich" userId="c64b3fe1-2fbf-4408-adc4-30add62e991f" providerId="ADAL" clId="{B99A90B8-7D29-4456-AFD4-0F3DBA13A596}" dt="2024-08-26T11:09:48.345" v="7709"/>
          <ac:spMkLst>
            <pc:docMk/>
            <pc:sldMk cId="3389240722" sldId="1657"/>
            <ac:spMk id="233" creationId="{CD9E5D55-D15F-B6B5-2CED-25B0FF87AFCF}"/>
          </ac:spMkLst>
        </pc:spChg>
        <pc:spChg chg="add del mod modVis">
          <ac:chgData name="vonWaldow, Ulrich" userId="c64b3fe1-2fbf-4408-adc4-30add62e991f" providerId="ADAL" clId="{B99A90B8-7D29-4456-AFD4-0F3DBA13A596}" dt="2024-08-26T11:09:50.698" v="7842"/>
          <ac:spMkLst>
            <pc:docMk/>
            <pc:sldMk cId="3389240722" sldId="1657"/>
            <ac:spMk id="235" creationId="{62172817-18FF-20B9-659F-103024789180}"/>
          </ac:spMkLst>
        </pc:spChg>
        <pc:spChg chg="add del mod modVis">
          <ac:chgData name="vonWaldow, Ulrich" userId="c64b3fe1-2fbf-4408-adc4-30add62e991f" providerId="ADAL" clId="{B99A90B8-7D29-4456-AFD4-0F3DBA13A596}" dt="2024-08-26T11:09:52.037" v="7976"/>
          <ac:spMkLst>
            <pc:docMk/>
            <pc:sldMk cId="3389240722" sldId="1657"/>
            <ac:spMk id="237" creationId="{215AFEB0-5FC2-5F6F-7907-FF52FFEA9297}"/>
          </ac:spMkLst>
        </pc:spChg>
        <pc:spChg chg="add del mod modVis">
          <ac:chgData name="vonWaldow, Ulrich" userId="c64b3fe1-2fbf-4408-adc4-30add62e991f" providerId="ADAL" clId="{B99A90B8-7D29-4456-AFD4-0F3DBA13A596}" dt="2024-08-26T11:09:56.462" v="8121"/>
          <ac:spMkLst>
            <pc:docMk/>
            <pc:sldMk cId="3389240722" sldId="1657"/>
            <ac:spMk id="239" creationId="{5B9917C1-C8F4-ED8C-706B-91AB8EB07DD5}"/>
          </ac:spMkLst>
        </pc:spChg>
        <pc:spChg chg="add del mod modVis">
          <ac:chgData name="vonWaldow, Ulrich" userId="c64b3fe1-2fbf-4408-adc4-30add62e991f" providerId="ADAL" clId="{B99A90B8-7D29-4456-AFD4-0F3DBA13A596}" dt="2024-08-26T11:09:58.079" v="8267"/>
          <ac:spMkLst>
            <pc:docMk/>
            <pc:sldMk cId="3389240722" sldId="1657"/>
            <ac:spMk id="241" creationId="{460148EE-4897-E990-3A30-C9A6CD1FB671}"/>
          </ac:spMkLst>
        </pc:spChg>
        <pc:spChg chg="add del mod modVis">
          <ac:chgData name="vonWaldow, Ulrich" userId="c64b3fe1-2fbf-4408-adc4-30add62e991f" providerId="ADAL" clId="{B99A90B8-7D29-4456-AFD4-0F3DBA13A596}" dt="2024-08-26T11:10:04.865" v="8400"/>
          <ac:spMkLst>
            <pc:docMk/>
            <pc:sldMk cId="3389240722" sldId="1657"/>
            <ac:spMk id="243" creationId="{DF1C7ECC-B46E-6C21-2286-A758F51FB1E1}"/>
          </ac:spMkLst>
        </pc:spChg>
        <pc:spChg chg="add del mod modVis">
          <ac:chgData name="vonWaldow, Ulrich" userId="c64b3fe1-2fbf-4408-adc4-30add62e991f" providerId="ADAL" clId="{B99A90B8-7D29-4456-AFD4-0F3DBA13A596}" dt="2024-08-26T11:10:07.078" v="8545"/>
          <ac:spMkLst>
            <pc:docMk/>
            <pc:sldMk cId="3389240722" sldId="1657"/>
            <ac:spMk id="245" creationId="{15E99EF8-8471-4D85-180C-39EE01DB9A1B}"/>
          </ac:spMkLst>
        </pc:spChg>
        <pc:spChg chg="add del mod modVis">
          <ac:chgData name="vonWaldow, Ulrich" userId="c64b3fe1-2fbf-4408-adc4-30add62e991f" providerId="ADAL" clId="{B99A90B8-7D29-4456-AFD4-0F3DBA13A596}" dt="2024-08-26T11:10:09.941" v="8930"/>
          <ac:spMkLst>
            <pc:docMk/>
            <pc:sldMk cId="3389240722" sldId="1657"/>
            <ac:spMk id="247" creationId="{CF84FB13-2E9D-7FFE-5281-60421CD13563}"/>
          </ac:spMkLst>
        </pc:spChg>
        <pc:spChg chg="add del mod modVis">
          <ac:chgData name="vonWaldow, Ulrich" userId="c64b3fe1-2fbf-4408-adc4-30add62e991f" providerId="ADAL" clId="{B99A90B8-7D29-4456-AFD4-0F3DBA13A596}" dt="2024-08-26T11:10:09.941" v="8930"/>
          <ac:spMkLst>
            <pc:docMk/>
            <pc:sldMk cId="3389240722" sldId="1657"/>
            <ac:spMk id="249" creationId="{5591B12F-C165-2D23-460D-CA480CA3CCC0}"/>
          </ac:spMkLst>
        </pc:spChg>
        <pc:spChg chg="add del mod modVis">
          <ac:chgData name="vonWaldow, Ulrich" userId="c64b3fe1-2fbf-4408-adc4-30add62e991f" providerId="ADAL" clId="{B99A90B8-7D29-4456-AFD4-0F3DBA13A596}" dt="2024-08-26T11:10:14.232" v="9155"/>
          <ac:spMkLst>
            <pc:docMk/>
            <pc:sldMk cId="3389240722" sldId="1657"/>
            <ac:spMk id="251" creationId="{1B044AE2-B20B-34EA-D033-3A8C0B7C0A0F}"/>
          </ac:spMkLst>
        </pc:spChg>
        <pc:spChg chg="add del mod modVis">
          <ac:chgData name="vonWaldow, Ulrich" userId="c64b3fe1-2fbf-4408-adc4-30add62e991f" providerId="ADAL" clId="{B99A90B8-7D29-4456-AFD4-0F3DBA13A596}" dt="2024-08-26T11:10:16.118" v="9318"/>
          <ac:spMkLst>
            <pc:docMk/>
            <pc:sldMk cId="3389240722" sldId="1657"/>
            <ac:spMk id="253" creationId="{336248CC-C7D2-BAAC-0097-23F57846048A}"/>
          </ac:spMkLst>
        </pc:spChg>
        <pc:spChg chg="add del mod modVis">
          <ac:chgData name="vonWaldow, Ulrich" userId="c64b3fe1-2fbf-4408-adc4-30add62e991f" providerId="ADAL" clId="{B99A90B8-7D29-4456-AFD4-0F3DBA13A596}" dt="2024-08-26T11:12:21.210" v="9511"/>
          <ac:spMkLst>
            <pc:docMk/>
            <pc:sldMk cId="3389240722" sldId="1657"/>
            <ac:spMk id="258" creationId="{EA93859C-35B1-94AB-FA8D-826DB4C7245E}"/>
          </ac:spMkLst>
        </pc:spChg>
        <pc:spChg chg="add del mod modVis">
          <ac:chgData name="vonWaldow, Ulrich" userId="c64b3fe1-2fbf-4408-adc4-30add62e991f" providerId="ADAL" clId="{B99A90B8-7D29-4456-AFD4-0F3DBA13A596}" dt="2024-08-26T11:12:23.442" v="9648"/>
          <ac:spMkLst>
            <pc:docMk/>
            <pc:sldMk cId="3389240722" sldId="1657"/>
            <ac:spMk id="260" creationId="{05D99E80-FFF5-848E-F8E5-CA5598ACFCB7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3389240722" sldId="1657"/>
            <ac:spMk id="262" creationId="{1841979E-E183-CFA0-92AC-AD9BD895F0F2}"/>
          </ac:spMkLst>
        </pc:spChg>
        <pc:spChg chg="add del mod modVis">
          <ac:chgData name="vonWaldow, Ulrich" userId="c64b3fe1-2fbf-4408-adc4-30add62e991f" providerId="ADAL" clId="{B99A90B8-7D29-4456-AFD4-0F3DBA13A596}" dt="2024-08-26T11:30:42.085" v="31461"/>
          <ac:spMkLst>
            <pc:docMk/>
            <pc:sldMk cId="3389240722" sldId="1657"/>
            <ac:spMk id="263" creationId="{8FA07FD9-E3E1-B7BD-601C-3143DC721B99}"/>
          </ac:spMkLst>
        </pc:spChg>
        <pc:spChg chg="add del mod modVis">
          <ac:chgData name="vonWaldow, Ulrich" userId="c64b3fe1-2fbf-4408-adc4-30add62e991f" providerId="ADAL" clId="{B99A90B8-7D29-4456-AFD4-0F3DBA13A596}" dt="2024-08-26T11:31:29.042" v="31504"/>
          <ac:spMkLst>
            <pc:docMk/>
            <pc:sldMk cId="3389240722" sldId="1657"/>
            <ac:spMk id="266" creationId="{703AC505-07F5-4DCC-BCB5-F091DC6C459B}"/>
          </ac:spMkLst>
        </pc:spChg>
        <pc:grpChg chg="add del mod">
          <ac:chgData name="vonWaldow, Ulrich" userId="c64b3fe1-2fbf-4408-adc4-30add62e991f" providerId="ADAL" clId="{B99A90B8-7D29-4456-AFD4-0F3DBA13A596}" dt="2024-08-26T11:06:11.429" v="2162" actId="165"/>
          <ac:grpSpMkLst>
            <pc:docMk/>
            <pc:sldMk cId="3389240722" sldId="1657"/>
            <ac:grpSpMk id="149" creationId="{6F8C40DF-8967-D661-0EFE-A04B56176569}"/>
          </ac:grpSpMkLst>
        </pc:grpChg>
        <pc:grpChg chg="add del mod">
          <ac:chgData name="vonWaldow, Ulrich" userId="c64b3fe1-2fbf-4408-adc4-30add62e991f" providerId="ADAL" clId="{B99A90B8-7D29-4456-AFD4-0F3DBA13A596}" dt="2024-08-26T11:10:19.259" v="9321" actId="478"/>
          <ac:grpSpMkLst>
            <pc:docMk/>
            <pc:sldMk cId="3389240722" sldId="1657"/>
            <ac:grpSpMk id="204" creationId="{A41DBEAB-A675-22EE-B2EF-02905C1BC3BF}"/>
          </ac:grpSpMkLst>
        </pc:grpChg>
        <pc:grpChg chg="add 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389240722" sldId="1657"/>
            <ac:grpSpMk id="257" creationId="{E9C98A13-F4A4-C1D8-D3FF-9B463ECEC14C}"/>
          </ac:grpSpMkLst>
        </pc:grpChg>
        <pc:grpChg chg="add mod">
          <ac:chgData name="vonWaldow, Ulrich" userId="c64b3fe1-2fbf-4408-adc4-30add62e991f" providerId="ADAL" clId="{B99A90B8-7D29-4456-AFD4-0F3DBA13A596}" dt="2024-08-26T11:31:02.372" v="31479"/>
          <ac:grpSpMkLst>
            <pc:docMk/>
            <pc:sldMk cId="3389240722" sldId="1657"/>
            <ac:grpSpMk id="265" creationId="{814CB0DB-A461-95E5-97D4-63CCC9FCD36A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31:29.058" v="31506"/>
          <ac:graphicFrameMkLst>
            <pc:docMk/>
            <pc:sldMk cId="3389240722" sldId="1657"/>
            <ac:graphicFrameMk id="151" creationId="{5EDF5422-8243-6354-A41D-147D10C8051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1.087" v="2685"/>
          <ac:graphicFrameMkLst>
            <pc:docMk/>
            <pc:sldMk cId="3389240722" sldId="1657"/>
            <ac:graphicFrameMk id="160" creationId="{19F52278-B278-2B78-A3B5-8B85E30BA2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4.547" v="2830"/>
          <ac:graphicFrameMkLst>
            <pc:docMk/>
            <pc:sldMk cId="3389240722" sldId="1657"/>
            <ac:graphicFrameMk id="163" creationId="{C2F1962C-F65E-A22D-6D53-E7475C1C5D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9.798" v="2969"/>
          <ac:graphicFrameMkLst>
            <pc:docMk/>
            <pc:sldMk cId="3389240722" sldId="1657"/>
            <ac:graphicFrameMk id="165" creationId="{C9820E78-9AA2-E43B-6B71-7B066A018B5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1.121" v="3129"/>
          <ac:graphicFrameMkLst>
            <pc:docMk/>
            <pc:sldMk cId="3389240722" sldId="1657"/>
            <ac:graphicFrameMk id="168" creationId="{A004639A-FDFA-4EF8-B91A-03E90B8A84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1.906" v="3282"/>
          <ac:graphicFrameMkLst>
            <pc:docMk/>
            <pc:sldMk cId="3389240722" sldId="1657"/>
            <ac:graphicFrameMk id="172" creationId="{FAD81492-4A47-5756-70B9-5C24CC6815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2.959" v="3464"/>
          <ac:graphicFrameMkLst>
            <pc:docMk/>
            <pc:sldMk cId="3389240722" sldId="1657"/>
            <ac:graphicFrameMk id="175" creationId="{3B829DB4-AED1-A0E2-0CE9-DF6AC379798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4.406" v="3635"/>
          <ac:graphicFrameMkLst>
            <pc:docMk/>
            <pc:sldMk cId="3389240722" sldId="1657"/>
            <ac:graphicFrameMk id="179" creationId="{F3A53DDE-DB0F-A2F1-4F91-C09E1078A09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7.273" v="3771"/>
          <ac:graphicFrameMkLst>
            <pc:docMk/>
            <pc:sldMk cId="3389240722" sldId="1657"/>
            <ac:graphicFrameMk id="182" creationId="{0CBCC0AF-88BD-255D-98DF-25E96DB0F1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11.148" v="3907"/>
          <ac:graphicFrameMkLst>
            <pc:docMk/>
            <pc:sldMk cId="3389240722" sldId="1657"/>
            <ac:graphicFrameMk id="184" creationId="{2BE2A7FF-A023-E6EC-720C-1B48D86866C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15.323" v="4043"/>
          <ac:graphicFrameMkLst>
            <pc:docMk/>
            <pc:sldMk cId="3389240722" sldId="1657"/>
            <ac:graphicFrameMk id="186" creationId="{EBCFE207-15A0-B46D-1F5F-1FDFCBF2BC9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25.166" v="4163"/>
          <ac:graphicFrameMkLst>
            <pc:docMk/>
            <pc:sldMk cId="3389240722" sldId="1657"/>
            <ac:graphicFrameMk id="188" creationId="{A133E9E0-73EF-3D39-456D-B0AA7792822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26.691" v="4297"/>
          <ac:graphicFrameMkLst>
            <pc:docMk/>
            <pc:sldMk cId="3389240722" sldId="1657"/>
            <ac:graphicFrameMk id="189" creationId="{5EA61286-F1A2-9ABF-190D-BDE14A70C3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3.030" v="4433"/>
          <ac:graphicFrameMkLst>
            <pc:docMk/>
            <pc:sldMk cId="3389240722" sldId="1657"/>
            <ac:graphicFrameMk id="191" creationId="{7577AA6B-C7FE-A484-3F81-8E66935DD14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5.357" v="4569"/>
          <ac:graphicFrameMkLst>
            <pc:docMk/>
            <pc:sldMk cId="3389240722" sldId="1657"/>
            <ac:graphicFrameMk id="193" creationId="{322E04E4-E491-5F5F-B6A5-184D6106E38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7.137" v="4705"/>
          <ac:graphicFrameMkLst>
            <pc:docMk/>
            <pc:sldMk cId="3389240722" sldId="1657"/>
            <ac:graphicFrameMk id="195" creationId="{806EC5E1-C488-1D74-2341-726BBD80D12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43.405" v="4841"/>
          <ac:graphicFrameMkLst>
            <pc:docMk/>
            <pc:sldMk cId="3389240722" sldId="1657"/>
            <ac:graphicFrameMk id="197" creationId="{EA59575A-3D0C-1CA2-5223-63F5C7CA099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45.654" v="4961"/>
          <ac:graphicFrameMkLst>
            <pc:docMk/>
            <pc:sldMk cId="3389240722" sldId="1657"/>
            <ac:graphicFrameMk id="199" creationId="{269581B0-4DBA-0306-C9E2-EA5926B643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50.075" v="5096"/>
          <ac:graphicFrameMkLst>
            <pc:docMk/>
            <pc:sldMk cId="3389240722" sldId="1657"/>
            <ac:graphicFrameMk id="200" creationId="{643B8573-E5F7-862C-B4EC-DC9E95C258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56.025" v="5214"/>
          <ac:graphicFrameMkLst>
            <pc:docMk/>
            <pc:sldMk cId="3389240722" sldId="1657"/>
            <ac:graphicFrameMk id="201" creationId="{B9892241-B51F-9141-A925-D9232A76B6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03.925" v="5371"/>
          <ac:graphicFrameMkLst>
            <pc:docMk/>
            <pc:sldMk cId="3389240722" sldId="1657"/>
            <ac:graphicFrameMk id="202" creationId="{48A6E996-C9F8-A1B0-F87A-E228C132A63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15.420" v="5524"/>
          <ac:graphicFrameMkLst>
            <pc:docMk/>
            <pc:sldMk cId="3389240722" sldId="1657"/>
            <ac:graphicFrameMk id="203" creationId="{D42A4126-9235-42E2-D70E-E95A0A4E41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17.101" v="5649"/>
          <ac:graphicFrameMkLst>
            <pc:docMk/>
            <pc:sldMk cId="3389240722" sldId="1657"/>
            <ac:graphicFrameMk id="205" creationId="{15D280C9-D7C4-68C7-DF7B-FF4645A99BD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1.155" v="5912"/>
          <ac:graphicFrameMkLst>
            <pc:docMk/>
            <pc:sldMk cId="3389240722" sldId="1657"/>
            <ac:graphicFrameMk id="206" creationId="{8E7BBE44-112C-EC5E-68B5-E5C50E47F4E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6.139" v="6078"/>
          <ac:graphicFrameMkLst>
            <pc:docMk/>
            <pc:sldMk cId="3389240722" sldId="1657"/>
            <ac:graphicFrameMk id="208" creationId="{AD26C079-C7A6-8AA6-6B05-2C3A9ABF30D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7.210" v="6176"/>
          <ac:graphicFrameMkLst>
            <pc:docMk/>
            <pc:sldMk cId="3389240722" sldId="1657"/>
            <ac:graphicFrameMk id="211" creationId="{E3F9A550-8E90-12C9-58E5-215CF3D112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7.632" v="6269"/>
          <ac:graphicFrameMkLst>
            <pc:docMk/>
            <pc:sldMk cId="3389240722" sldId="1657"/>
            <ac:graphicFrameMk id="212" creationId="{082F7269-DC73-3638-0F19-9F5296422F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34.955" v="6404"/>
          <ac:graphicFrameMkLst>
            <pc:docMk/>
            <pc:sldMk cId="3389240722" sldId="1657"/>
            <ac:graphicFrameMk id="213" creationId="{7CC63F30-6242-E857-C93F-ABDFBB1F73A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37.374" v="6587"/>
          <ac:graphicFrameMkLst>
            <pc:docMk/>
            <pc:sldMk cId="3389240722" sldId="1657"/>
            <ac:graphicFrameMk id="215" creationId="{ED9C3EB5-E7B3-03DE-20A5-F6475A1E76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4.268" v="6750"/>
          <ac:graphicFrameMkLst>
            <pc:docMk/>
            <pc:sldMk cId="3389240722" sldId="1657"/>
            <ac:graphicFrameMk id="218" creationId="{B4E5DED2-D027-16E7-0BD5-B81F6009F23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5.086" v="6880"/>
          <ac:graphicFrameMkLst>
            <pc:docMk/>
            <pc:sldMk cId="3389240722" sldId="1657"/>
            <ac:graphicFrameMk id="220" creationId="{4AF37CF8-76A8-CC1A-42A7-D21EC049DEC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7.240" v="7353"/>
          <ac:graphicFrameMkLst>
            <pc:docMk/>
            <pc:sldMk cId="3389240722" sldId="1657"/>
            <ac:graphicFrameMk id="222" creationId="{86E708F2-7F34-DEF5-0990-39C1EB9C7C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8.104" v="7498"/>
          <ac:graphicFrameMkLst>
            <pc:docMk/>
            <pc:sldMk cId="3389240722" sldId="1657"/>
            <ac:graphicFrameMk id="230" creationId="{BD95C7D0-752D-7C2E-E239-BAAA080591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8.277" v="7627"/>
          <ac:graphicFrameMkLst>
            <pc:docMk/>
            <pc:sldMk cId="3389240722" sldId="1657"/>
            <ac:graphicFrameMk id="232" creationId="{A3928FCC-BDC5-D53E-7FFE-A489B83570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0.665" v="7760"/>
          <ac:graphicFrameMkLst>
            <pc:docMk/>
            <pc:sldMk cId="3389240722" sldId="1657"/>
            <ac:graphicFrameMk id="234" creationId="{BDBDF6C6-A5FD-3836-4F5B-5F2FEBED625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1.986" v="7894"/>
          <ac:graphicFrameMkLst>
            <pc:docMk/>
            <pc:sldMk cId="3389240722" sldId="1657"/>
            <ac:graphicFrameMk id="236" creationId="{F61ACF3E-3D81-C4C8-25FC-346252BA7C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6.399" v="8039"/>
          <ac:graphicFrameMkLst>
            <pc:docMk/>
            <pc:sldMk cId="3389240722" sldId="1657"/>
            <ac:graphicFrameMk id="238" creationId="{4F652F67-F40E-FCDB-F71C-91164D9FF0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8" v="8185"/>
          <ac:graphicFrameMkLst>
            <pc:docMk/>
            <pc:sldMk cId="3389240722" sldId="1657"/>
            <ac:graphicFrameMk id="240" creationId="{2D177D5B-C5B5-8582-B2F8-A85CD8E8D13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04.830" v="8318"/>
          <ac:graphicFrameMkLst>
            <pc:docMk/>
            <pc:sldMk cId="3389240722" sldId="1657"/>
            <ac:graphicFrameMk id="242" creationId="{B8023517-527B-FBA2-4863-5FF16E6897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07.036" v="8463"/>
          <ac:graphicFrameMkLst>
            <pc:docMk/>
            <pc:sldMk cId="3389240722" sldId="1657"/>
            <ac:graphicFrameMk id="244" creationId="{3CB4E67F-E56E-B77D-F236-C771499428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14.185" v="9073"/>
          <ac:graphicFrameMkLst>
            <pc:docMk/>
            <pc:sldMk cId="3389240722" sldId="1657"/>
            <ac:graphicFrameMk id="246" creationId="{4A8363A6-EE8A-C1AD-17A8-DF64F6FC181E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6T11:10:09.941" v="8930"/>
          <ac:graphicFrameMkLst>
            <pc:docMk/>
            <pc:sldMk cId="3389240722" sldId="1657"/>
            <ac:graphicFrameMk id="248" creationId="{C6FD26B5-8E09-D9A0-E649-6614772EAF3A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6T11:10:09.941" v="8930"/>
          <ac:graphicFrameMkLst>
            <pc:docMk/>
            <pc:sldMk cId="3389240722" sldId="1657"/>
            <ac:graphicFrameMk id="250" creationId="{07215585-B5E2-7311-67A0-250A9CA6AE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16.070" v="9236"/>
          <ac:graphicFrameMkLst>
            <pc:docMk/>
            <pc:sldMk cId="3389240722" sldId="1657"/>
            <ac:graphicFrameMk id="252" creationId="{31B3094B-94C9-D1A6-99BB-563D7A6406C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2:21.149" v="9436"/>
          <ac:graphicFrameMkLst>
            <pc:docMk/>
            <pc:sldMk cId="3389240722" sldId="1657"/>
            <ac:graphicFrameMk id="254" creationId="{B7336B3E-29FC-F229-6841-49C48D26F8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2:23.394" v="9573"/>
          <ac:graphicFrameMkLst>
            <pc:docMk/>
            <pc:sldMk cId="3389240722" sldId="1657"/>
            <ac:graphicFrameMk id="259" creationId="{C272DEE4-7ABB-57A9-588E-D89C81C8DE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30:42.038" v="31385"/>
          <ac:graphicFrameMkLst>
            <pc:docMk/>
            <pc:sldMk cId="3389240722" sldId="1657"/>
            <ac:graphicFrameMk id="261" creationId="{4B9628C1-9ED2-BD7E-E896-5AD220E32527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6T11:30:42.085" v="31448"/>
          <ac:graphicFrameMkLst>
            <pc:docMk/>
            <pc:sldMk cId="3389240722" sldId="1657"/>
            <ac:graphicFrameMk id="264" creationId="{F43060C6-C8C4-D4C2-5CD5-5C7E9A29C668}"/>
          </ac:graphicFrameMkLst>
        </pc:graphicFrame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7" creationId="{AF967352-8189-DF6B-B49A-58A8C13D5B07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8" creationId="{915C387B-9179-3E69-8CCD-775533FD17EC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9" creationId="{1622C912-26AF-C02E-752E-D6627614077A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3" creationId="{4B1C07FD-6431-D1A3-C6EE-F18B5B6734BA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4" creationId="{72232127-18C4-BC8C-9122-049ECC1A33D9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5" creationId="{8CB49D5A-7958-7A88-6A21-ECC66E697180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4"/>
          <ac:cxnSpMkLst>
            <pc:docMk/>
            <pc:sldMk cId="3389240722" sldId="1657"/>
            <ac:cxnSpMk id="90" creationId="{2AFAE434-3231-9E30-5EB5-061004B4B43D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4"/>
          <ac:cxnSpMkLst>
            <pc:docMk/>
            <pc:sldMk cId="3389240722" sldId="1657"/>
            <ac:cxnSpMk id="91" creationId="{D3AFD573-4866-BB5E-13C6-EE9A45500E83}"/>
          </ac:cxnSpMkLst>
        </pc:cxnChg>
        <pc:cxnChg chg="add mod topLvl">
          <ac:chgData name="vonWaldow, Ulrich" userId="c64b3fe1-2fbf-4408-adc4-30add62e991f" providerId="ADAL" clId="{B99A90B8-7D29-4456-AFD4-0F3DBA13A596}" dt="2024-08-26T11:30:49.472" v="31471"/>
          <ac:cxnSpMkLst>
            <pc:docMk/>
            <pc:sldMk cId="3389240722" sldId="1657"/>
            <ac:cxnSpMk id="92" creationId="{9C33D50D-40F9-BEA5-B268-B95DB345B734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5"/>
          <ac:cxnSpMkLst>
            <pc:docMk/>
            <pc:sldMk cId="3389240722" sldId="1657"/>
            <ac:cxnSpMk id="146" creationId="{E248B0E6-09FB-A075-0F53-544B4FB7F764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5"/>
          <ac:cxnSpMkLst>
            <pc:docMk/>
            <pc:sldMk cId="3389240722" sldId="1657"/>
            <ac:cxnSpMk id="147" creationId="{759B411C-72DD-809C-1C0F-FABB0B86838F}"/>
          </ac:cxnSpMkLst>
        </pc:cxnChg>
        <pc:cxnChg chg="add mod topLvl">
          <ac:chgData name="vonWaldow, Ulrich" userId="c64b3fe1-2fbf-4408-adc4-30add62e991f" providerId="ADAL" clId="{B99A90B8-7D29-4456-AFD4-0F3DBA13A596}" dt="2024-08-26T11:30:44.122" v="31465"/>
          <ac:cxnSpMkLst>
            <pc:docMk/>
            <pc:sldMk cId="3389240722" sldId="1657"/>
            <ac:cxnSpMk id="148" creationId="{65972223-9D2D-1F21-934C-51C52BB621A2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9-03T12:07:21.920" v="111330"/>
        <pc:sldMkLst>
          <pc:docMk/>
          <pc:sldMk cId="2200607401" sldId="1658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2200607401" sldId="1658"/>
            <ac:spMk id="2" creationId="{BCF3E344-3819-3DF9-76C9-E56E922C9C20}"/>
          </ac:spMkLst>
        </pc:spChg>
        <pc:spChg chg="add del mod modVis">
          <ac:chgData name="vonWaldow, Ulrich" userId="c64b3fe1-2fbf-4408-adc4-30add62e991f" providerId="ADAL" clId="{B99A90B8-7D29-4456-AFD4-0F3DBA13A596}" dt="2024-08-26T10:00:21.369" v="1473"/>
          <ac:spMkLst>
            <pc:docMk/>
            <pc:sldMk cId="2200607401" sldId="1658"/>
            <ac:spMk id="3" creationId="{59DC01A5-AC23-56CD-7E15-8A8C4D3B0257}"/>
          </ac:spMkLst>
        </pc:spChg>
        <pc:spChg chg="add del mod modVis">
          <ac:chgData name="vonWaldow, Ulrich" userId="c64b3fe1-2fbf-4408-adc4-30add62e991f" providerId="ADAL" clId="{B99A90B8-7D29-4456-AFD4-0F3DBA13A596}" dt="2024-08-26T10:00:26.824" v="1511"/>
          <ac:spMkLst>
            <pc:docMk/>
            <pc:sldMk cId="2200607401" sldId="1658"/>
            <ac:spMk id="5" creationId="{721670F8-7BFE-8D01-415A-40E75A7521DC}"/>
          </ac:spMkLst>
        </pc:spChg>
        <pc:spChg chg="add mod ord">
          <ac:chgData name="vonWaldow, Ulrich" userId="c64b3fe1-2fbf-4408-adc4-30add62e991f" providerId="ADAL" clId="{B99A90B8-7D29-4456-AFD4-0F3DBA13A596}" dt="2024-09-03T12:07:21.920" v="111330"/>
          <ac:spMkLst>
            <pc:docMk/>
            <pc:sldMk cId="2200607401" sldId="1658"/>
            <ac:spMk id="6" creationId="{DE946489-6DA4-4153-C0C9-7F2CCEA134B6}"/>
          </ac:spMkLst>
        </pc:spChg>
        <pc:spChg chg="add del mod modVis">
          <ac:chgData name="vonWaldow, Ulrich" userId="c64b3fe1-2fbf-4408-adc4-30add62e991f" providerId="ADAL" clId="{B99A90B8-7D29-4456-AFD4-0F3DBA13A596}" dt="2024-08-26T10:00:29.087" v="1560"/>
          <ac:spMkLst>
            <pc:docMk/>
            <pc:sldMk cId="2200607401" sldId="1658"/>
            <ac:spMk id="7" creationId="{265A0A39-3FE3-C1A0-F4B2-0CB5237550A6}"/>
          </ac:spMkLst>
        </pc:spChg>
        <pc:spChg chg="add del mod topLvl">
          <ac:chgData name="vonWaldow, Ulrich" userId="c64b3fe1-2fbf-4408-adc4-30add62e991f" providerId="ADAL" clId="{B99A90B8-7D29-4456-AFD4-0F3DBA13A596}" dt="2024-08-26T11:19:46.786" v="10046" actId="478"/>
          <ac:spMkLst>
            <pc:docMk/>
            <pc:sldMk cId="2200607401" sldId="1658"/>
            <ac:spMk id="8" creationId="{0BCC692B-67D3-06CD-16C0-89AE59AB226C}"/>
          </ac:spMkLst>
        </pc:spChg>
        <pc:spChg chg="add del mod topLvl">
          <ac:chgData name="vonWaldow, Ulrich" userId="c64b3fe1-2fbf-4408-adc4-30add62e991f" providerId="ADAL" clId="{B99A90B8-7D29-4456-AFD4-0F3DBA13A596}" dt="2024-08-26T11:19:44.020" v="10045" actId="478"/>
          <ac:spMkLst>
            <pc:docMk/>
            <pc:sldMk cId="2200607401" sldId="1658"/>
            <ac:spMk id="9" creationId="{5037069A-E23C-8EAB-0CD2-A9C6F59CC5F0}"/>
          </ac:spMkLst>
        </pc:spChg>
        <pc:spChg chg="add del mod ord topLvl">
          <ac:chgData name="vonWaldow, Ulrich" userId="c64b3fe1-2fbf-4408-adc4-30add62e991f" providerId="ADAL" clId="{B99A90B8-7D29-4456-AFD4-0F3DBA13A596}" dt="2024-08-26T11:19:14.963" v="10036" actId="478"/>
          <ac:spMkLst>
            <pc:docMk/>
            <pc:sldMk cId="2200607401" sldId="1658"/>
            <ac:spMk id="10" creationId="{90B4E41C-8F6A-1ED7-EA86-46B9033C078C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1" creationId="{B908FA32-8F5F-F5BC-2517-FB478F73AB51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2" creationId="{4FE8EB93-9404-3BE8-08F9-E8DC6D863371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3" creationId="{BED211E0-CEA7-78D1-F524-EE6E9DCA6185}"/>
          </ac:spMkLst>
        </pc:spChg>
        <pc:spChg chg="add del mod topLvl">
          <ac:chgData name="vonWaldow, Ulrich" userId="c64b3fe1-2fbf-4408-adc4-30add62e991f" providerId="ADAL" clId="{B99A90B8-7D29-4456-AFD4-0F3DBA13A596}" dt="2024-08-26T11:18:29.327" v="10015" actId="478"/>
          <ac:spMkLst>
            <pc:docMk/>
            <pc:sldMk cId="2200607401" sldId="1658"/>
            <ac:spMk id="14" creationId="{9B8B7DE9-FD44-FD82-7CC0-294ECF3F8D75}"/>
          </ac:spMkLst>
        </pc:spChg>
        <pc:spChg chg="add del mod topLvl">
          <ac:chgData name="vonWaldow, Ulrich" userId="c64b3fe1-2fbf-4408-adc4-30add62e991f" providerId="ADAL" clId="{B99A90B8-7D29-4456-AFD4-0F3DBA13A596}" dt="2024-08-26T11:19:23.586" v="10040" actId="478"/>
          <ac:spMkLst>
            <pc:docMk/>
            <pc:sldMk cId="2200607401" sldId="1658"/>
            <ac:spMk id="15" creationId="{B49E604B-24E5-6779-A52D-06CD24AC301A}"/>
          </ac:spMkLst>
        </pc:spChg>
        <pc:spChg chg="add del mod topLvl">
          <ac:chgData name="vonWaldow, Ulrich" userId="c64b3fe1-2fbf-4408-adc4-30add62e991f" providerId="ADAL" clId="{B99A90B8-7D29-4456-AFD4-0F3DBA13A596}" dt="2024-08-26T11:19:31.093" v="10043" actId="478"/>
          <ac:spMkLst>
            <pc:docMk/>
            <pc:sldMk cId="2200607401" sldId="1658"/>
            <ac:spMk id="16" creationId="{D7C2BD65-6793-E556-98D1-8D8BE2444548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7" creationId="{8BB28251-61E5-B41E-D096-7F8B53215EF6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8" creationId="{EDF99AF8-8E79-73DF-0D9B-B3EBB5918B52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9" creationId="{E1439FD6-43E6-F588-CCC4-291F59D2E7C3}"/>
          </ac:spMkLst>
        </pc:spChg>
        <pc:spChg chg="add del mod topLvl">
          <ac:chgData name="vonWaldow, Ulrich" userId="c64b3fe1-2fbf-4408-adc4-30add62e991f" providerId="ADAL" clId="{B99A90B8-7D29-4456-AFD4-0F3DBA13A596}" dt="2024-08-26T11:19:31.093" v="10043" actId="478"/>
          <ac:spMkLst>
            <pc:docMk/>
            <pc:sldMk cId="2200607401" sldId="1658"/>
            <ac:spMk id="20" creationId="{8D5ADB57-288C-AA58-9356-63D3C69FD744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1" creationId="{CDF2592B-6A18-06E0-E3F0-FF6C489C7366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2" creationId="{4CFE0A0A-A2D5-16D0-75A3-918658AF6120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3" creationId="{CF40982F-EF39-076D-9B91-2970913BF5AE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4" creationId="{6BE2F49B-9AD3-54DE-7FFE-0DA7A12ACD6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5" creationId="{563F8862-51A6-8C18-19E2-4DE5245C1FC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6" creationId="{1824B6DE-30EC-E5C5-3673-E25DCB7E981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7" creationId="{39673607-7C26-4D2E-EEA0-A4F9F1B00A1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8" creationId="{84660BC1-1950-185A-2F2C-C79B58EA5AD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9" creationId="{36C14BAE-EF8A-C2A0-9B75-E70DFDD7250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0" creationId="{FB4557FE-E9AE-46CC-23F8-98D23220989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1" creationId="{2A0E3A2F-3C4D-26FD-9791-5A694100F1F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2" creationId="{1049435D-FCE6-F9F9-44DB-6EF7DD4EDCC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3" creationId="{87477298-9A21-B74A-876B-E4F0589ED97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4" creationId="{D355CB24-C32F-BFEE-33EA-CE2D06F9253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5" creationId="{88AA4447-2CE4-48F5-42A5-389C040E686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6" creationId="{24764278-D252-E239-F9E3-8565E776014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7" creationId="{89F5365C-58E1-27CF-71B3-EDC3962F500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8" creationId="{EB7D3C20-EF04-0958-6820-54909FA265B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9" creationId="{62859173-9563-3E1B-BBFA-0F8D634A0D28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0" creationId="{D350E41B-9480-0D47-DAD4-82F2BEC1D6F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1" creationId="{2F7A8684-2157-49D2-7B37-9585842F348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2" creationId="{2DB79B62-FA8C-A8B8-DE4F-8615A672611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3" creationId="{33D7A54D-5AC5-678D-6CB8-FCF66110E473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4" creationId="{929E6792-53ED-2E67-EB83-E618D51E221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5" creationId="{5986CFF8-AB35-7E58-0A03-8181878D205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6" creationId="{33D3BC9F-F3A4-1F95-950A-2C35AA36892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7" creationId="{A795D027-5447-5816-E525-ABA7DCEC72F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8" creationId="{69FB1440-C2AE-0E26-A6A5-7E3F67AA2B7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9" creationId="{0D6B5BED-ABC0-8603-9915-8BAC6A2FDDE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0" creationId="{6D4BB0DA-78DB-B9B5-9358-D857F3E07D5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1" creationId="{0894DB73-F4BC-CCFE-0098-561323DE294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2" creationId="{44BD44AA-DF48-841B-EAD3-71F35666DFC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3" creationId="{411F3C5E-4757-BA0C-8E17-34082E050A8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4" creationId="{36E64FF7-4B04-9117-5977-AB858269C82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5" creationId="{8D4DA062-1A8F-06B8-9B85-614CD36DE2B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6" creationId="{9333427D-4A0E-802B-4188-4F0077B0B02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7" creationId="{7CC939D0-6766-6C6C-3EF5-BEB693B3152D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8" creationId="{CE145B09-5911-511B-2063-39ED229ABF78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9" creationId="{A773EB9F-00A7-2A55-75F2-0A6F175E9623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0" creationId="{413C5267-3516-1A3A-E731-0ACF3AC87EA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1" creationId="{1C29408A-0A82-4A96-DA69-74F81F372C8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2" creationId="{53DA4C7B-C053-C1E9-816C-D17444E60C8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3" creationId="{F29A0931-67FD-C651-83E0-FAA7E04ACCB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4" creationId="{2896E89E-64BA-8C67-8789-07C1FCBEB38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5" creationId="{12316053-CB10-C973-9D8F-EC53636AA6D2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6" creationId="{A8CBDB3F-D0DC-85E4-4A08-75B26EC073C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7" creationId="{2F41525E-C773-673A-4B97-06AE460B1AD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8" creationId="{3F2ACA68-B2E9-1EE2-E0CB-9B69D022851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9" creationId="{DB7D4816-7E49-C4FF-8721-0BACF709B2F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0" creationId="{CA15487B-3DAE-EFDD-27B8-4B9A72671A05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1" creationId="{3978B3E1-AD53-F7E6-B8BD-BB060BB08C8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2" creationId="{67A30A91-E984-A6F8-2599-319FE987EF1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3" creationId="{6667D259-6AA2-0CC3-5628-5E5182D9B01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4" creationId="{402EC25C-489E-8235-EA97-9D2B5E63764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5" creationId="{C33C7CC6-9B28-FB0C-F7EE-8059600ABE7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6" creationId="{50154B39-F214-57A7-EB05-6F58CF5B10D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7" creationId="{B7C262C2-C034-84AF-ACC0-18BF0E60C1D4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21"/>
          <ac:spMkLst>
            <pc:docMk/>
            <pc:sldMk cId="2200607401" sldId="1658"/>
            <ac:spMk id="7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0:13.487" v="10367"/>
          <ac:spMkLst>
            <pc:docMk/>
            <pc:sldMk cId="2200607401" sldId="1658"/>
            <ac:spMk id="80" creationId="{73E57BEF-501B-61B8-FCA7-AEC6FEAA7904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20"/>
          <ac:spMkLst>
            <pc:docMk/>
            <pc:sldMk cId="2200607401" sldId="1658"/>
            <ac:spMk id="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7"/>
          <ac:spMkLst>
            <pc:docMk/>
            <pc:sldMk cId="2200607401" sldId="1658"/>
            <ac:spMk id="8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0:31.202" v="10620"/>
          <ac:spMkLst>
            <pc:docMk/>
            <pc:sldMk cId="2200607401" sldId="1658"/>
            <ac:spMk id="86" creationId="{45404581-5B0C-AE54-FF24-6898E7A573A2}"/>
          </ac:spMkLst>
        </pc:spChg>
        <pc:spChg chg="add del mod modVis">
          <ac:chgData name="vonWaldow, Ulrich" userId="c64b3fe1-2fbf-4408-adc4-30add62e991f" providerId="ADAL" clId="{B99A90B8-7D29-4456-AFD4-0F3DBA13A596}" dt="2024-08-26T11:20:30.587" v="10594"/>
          <ac:spMkLst>
            <pc:docMk/>
            <pc:sldMk cId="2200607401" sldId="1658"/>
            <ac:spMk id="88" creationId="{13152332-CCE7-02A4-58C1-5AD7B1AC43E7}"/>
          </ac:spMkLst>
        </pc:spChg>
        <pc:spChg chg="add del mod modVis">
          <ac:chgData name="vonWaldow, Ulrich" userId="c64b3fe1-2fbf-4408-adc4-30add62e991f" providerId="ADAL" clId="{B99A90B8-7D29-4456-AFD4-0F3DBA13A596}" dt="2024-08-26T11:20:31.281" v="10719"/>
          <ac:spMkLst>
            <pc:docMk/>
            <pc:sldMk cId="2200607401" sldId="1658"/>
            <ac:spMk id="90" creationId="{2B3F27BF-B577-1B77-79DD-6D25439C8842}"/>
          </ac:spMkLst>
        </pc:spChg>
        <pc:spChg chg="add del mod modVis">
          <ac:chgData name="vonWaldow, Ulrich" userId="c64b3fe1-2fbf-4408-adc4-30add62e991f" providerId="ADAL" clId="{B99A90B8-7D29-4456-AFD4-0F3DBA13A596}" dt="2024-08-26T11:20:49.388" v="10844"/>
          <ac:spMkLst>
            <pc:docMk/>
            <pc:sldMk cId="2200607401" sldId="1658"/>
            <ac:spMk id="94" creationId="{88E90E21-657E-BF76-3C81-5CB1F7D238A1}"/>
          </ac:spMkLst>
        </pc:spChg>
        <pc:spChg chg="add del mod modVis">
          <ac:chgData name="vonWaldow, Ulrich" userId="c64b3fe1-2fbf-4408-adc4-30add62e991f" providerId="ADAL" clId="{B99A90B8-7D29-4456-AFD4-0F3DBA13A596}" dt="2024-08-26T11:21:01.292" v="10968"/>
          <ac:spMkLst>
            <pc:docMk/>
            <pc:sldMk cId="2200607401" sldId="1658"/>
            <ac:spMk id="96" creationId="{B915CC55-000A-0560-CD1E-6FFC3B19480C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4"/>
          <ac:spMkLst>
            <pc:docMk/>
            <pc:sldMk cId="2200607401" sldId="1658"/>
            <ac:spMk id="98" creationId="{EBE5A03A-43D7-44C1-DAB1-4A22A81144FA}"/>
          </ac:spMkLst>
        </pc:spChg>
        <pc:spChg chg="add del mod modVis">
          <ac:chgData name="vonWaldow, Ulrich" userId="c64b3fe1-2fbf-4408-adc4-30add62e991f" providerId="ADAL" clId="{B99A90B8-7D29-4456-AFD4-0F3DBA13A596}" dt="2024-08-26T11:21:13.907" v="11142"/>
          <ac:spMkLst>
            <pc:docMk/>
            <pc:sldMk cId="2200607401" sldId="1658"/>
            <ac:spMk id="99" creationId="{3F181E70-C7EE-F905-4585-CED3538A3A91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1"/>
          <ac:spMkLst>
            <pc:docMk/>
            <pc:sldMk cId="2200607401" sldId="1658"/>
            <ac:spMk id="102" creationId="{B6F21EEA-BAE0-C4D0-A0FC-A112FB69759B}"/>
          </ac:spMkLst>
        </pc:spChg>
        <pc:spChg chg="add del mod modVis">
          <ac:chgData name="vonWaldow, Ulrich" userId="c64b3fe1-2fbf-4408-adc4-30add62e991f" providerId="ADAL" clId="{B99A90B8-7D29-4456-AFD4-0F3DBA13A596}" dt="2024-08-26T11:21:15.354" v="11327"/>
          <ac:spMkLst>
            <pc:docMk/>
            <pc:sldMk cId="2200607401" sldId="1658"/>
            <ac:spMk id="103" creationId="{CA0B4FC7-0FFF-5809-63E7-8A9F7276D34B}"/>
          </ac:spMkLst>
        </pc:spChg>
        <pc:spChg chg="add del mod modVis">
          <ac:chgData name="vonWaldow, Ulrich" userId="c64b3fe1-2fbf-4408-adc4-30add62e991f" providerId="ADAL" clId="{B99A90B8-7D29-4456-AFD4-0F3DBA13A596}" dt="2024-08-26T11:21:21.262" v="11461"/>
          <ac:spMkLst>
            <pc:docMk/>
            <pc:sldMk cId="2200607401" sldId="1658"/>
            <ac:spMk id="106" creationId="{F9911ED5-D2A0-B547-DB64-7CCA6653FE16}"/>
          </ac:spMkLst>
        </pc:spChg>
        <pc:spChg chg="add del mod modVis">
          <ac:chgData name="vonWaldow, Ulrich" userId="c64b3fe1-2fbf-4408-adc4-30add62e991f" providerId="ADAL" clId="{B99A90B8-7D29-4456-AFD4-0F3DBA13A596}" dt="2024-08-26T11:21:22.361" v="11595"/>
          <ac:spMkLst>
            <pc:docMk/>
            <pc:sldMk cId="2200607401" sldId="1658"/>
            <ac:spMk id="108" creationId="{2765DA70-BBC9-BFA5-7CEC-B0CE88632C0E}"/>
          </ac:spMkLst>
        </pc:spChg>
        <pc:spChg chg="add del mod modVis">
          <ac:chgData name="vonWaldow, Ulrich" userId="c64b3fe1-2fbf-4408-adc4-30add62e991f" providerId="ADAL" clId="{B99A90B8-7D29-4456-AFD4-0F3DBA13A596}" dt="2024-08-26T11:21:23.707" v="11729"/>
          <ac:spMkLst>
            <pc:docMk/>
            <pc:sldMk cId="2200607401" sldId="1658"/>
            <ac:spMk id="110" creationId="{DF25A915-271A-24FE-7E6C-3826FC1FB111}"/>
          </ac:spMkLst>
        </pc:spChg>
        <pc:spChg chg="add del mod modVis">
          <ac:chgData name="vonWaldow, Ulrich" userId="c64b3fe1-2fbf-4408-adc4-30add62e991f" providerId="ADAL" clId="{B99A90B8-7D29-4456-AFD4-0F3DBA13A596}" dt="2024-08-26T11:21:24.703" v="11863"/>
          <ac:spMkLst>
            <pc:docMk/>
            <pc:sldMk cId="2200607401" sldId="1658"/>
            <ac:spMk id="112" creationId="{31CD89FF-A98A-DCB7-249E-24B1C8221FD6}"/>
          </ac:spMkLst>
        </pc:spChg>
        <pc:spChg chg="add del mod modVis">
          <ac:chgData name="vonWaldow, Ulrich" userId="c64b3fe1-2fbf-4408-adc4-30add62e991f" providerId="ADAL" clId="{B99A90B8-7D29-4456-AFD4-0F3DBA13A596}" dt="2024-08-26T11:21:30.017" v="11999"/>
          <ac:spMkLst>
            <pc:docMk/>
            <pc:sldMk cId="2200607401" sldId="1658"/>
            <ac:spMk id="114" creationId="{D3C5CD56-7AA8-654D-727F-FCE14F95C058}"/>
          </ac:spMkLst>
        </pc:spChg>
        <pc:spChg chg="add del mod modVis">
          <ac:chgData name="vonWaldow, Ulrich" userId="c64b3fe1-2fbf-4408-adc4-30add62e991f" providerId="ADAL" clId="{B99A90B8-7D29-4456-AFD4-0F3DBA13A596}" dt="2024-08-26T11:22:17.622" v="13718"/>
          <ac:spMkLst>
            <pc:docMk/>
            <pc:sldMk cId="2200607401" sldId="1658"/>
            <ac:spMk id="119" creationId="{F6BF4667-C566-6B77-2985-F79F27A3FBBA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3"/>
          <ac:spMkLst>
            <pc:docMk/>
            <pc:sldMk cId="2200607401" sldId="1658"/>
            <ac:spMk id="1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68"/>
          <ac:spMkLst>
            <pc:docMk/>
            <pc:sldMk cId="2200607401" sldId="1658"/>
            <ac:spMk id="1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1"/>
          <ac:spMkLst>
            <pc:docMk/>
            <pc:sldMk cId="2200607401" sldId="1658"/>
            <ac:spMk id="1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4"/>
          <ac:spMkLst>
            <pc:docMk/>
            <pc:sldMk cId="2200607401" sldId="1658"/>
            <ac:spMk id="1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3"/>
          <ac:spMkLst>
            <pc:docMk/>
            <pc:sldMk cId="2200607401" sldId="1658"/>
            <ac:spMk id="1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4"/>
          <ac:spMkLst>
            <pc:docMk/>
            <pc:sldMk cId="2200607401" sldId="1658"/>
            <ac:spMk id="1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69"/>
          <ac:spMkLst>
            <pc:docMk/>
            <pc:sldMk cId="2200607401" sldId="1658"/>
            <ac:spMk id="1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2"/>
          <ac:spMkLst>
            <pc:docMk/>
            <pc:sldMk cId="2200607401" sldId="1658"/>
            <ac:spMk id="1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5"/>
          <ac:spMkLst>
            <pc:docMk/>
            <pc:sldMk cId="2200607401" sldId="1658"/>
            <ac:spMk id="1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3"/>
          <ac:spMkLst>
            <pc:docMk/>
            <pc:sldMk cId="2200607401" sldId="1658"/>
            <ac:spMk id="1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8"/>
          <ac:spMkLst>
            <pc:docMk/>
            <pc:sldMk cId="2200607401" sldId="1658"/>
            <ac:spMk id="1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70"/>
          <ac:spMkLst>
            <pc:docMk/>
            <pc:sldMk cId="2200607401" sldId="1658"/>
            <ac:spMk id="1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3"/>
          <ac:spMkLst>
            <pc:docMk/>
            <pc:sldMk cId="2200607401" sldId="1658"/>
            <ac:spMk id="1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6"/>
          <ac:spMkLst>
            <pc:docMk/>
            <pc:sldMk cId="2200607401" sldId="1658"/>
            <ac:spMk id="1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7"/>
          <ac:spMkLst>
            <pc:docMk/>
            <pc:sldMk cId="2200607401" sldId="1658"/>
            <ac:spMk id="1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4:10.035" v="20242"/>
          <ac:spMkLst>
            <pc:docMk/>
            <pc:sldMk cId="2200607401" sldId="1658"/>
            <ac:spMk id="1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33"/>
          <ac:spMkLst>
            <pc:docMk/>
            <pc:sldMk cId="2200607401" sldId="1658"/>
            <ac:spMk id="1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40"/>
          <ac:spMkLst>
            <pc:docMk/>
            <pc:sldMk cId="2200607401" sldId="1658"/>
            <ac:spMk id="13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5"/>
          <ac:spMkLst>
            <pc:docMk/>
            <pc:sldMk cId="2200607401" sldId="1658"/>
            <ac:spMk id="139" creationId="{77AA81B0-57A5-A667-2F7D-37210A9D90D7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28"/>
          <ac:spMkLst>
            <pc:docMk/>
            <pc:sldMk cId="2200607401" sldId="1658"/>
            <ac:spMk id="140" creationId="{5FB1BE1F-0AC9-144B-BA67-BA2CA6DE97E6}"/>
          </ac:spMkLst>
        </pc:spChg>
        <pc:spChg chg="add del mod ord replST">
          <ac:chgData name="vonWaldow, Ulrich" userId="c64b3fe1-2fbf-4408-adc4-30add62e991f" providerId="ADAL" clId="{B99A90B8-7D29-4456-AFD4-0F3DBA13A596}" dt="2024-08-26T11:23:31.154" v="16284"/>
          <ac:spMkLst>
            <pc:docMk/>
            <pc:sldMk cId="2200607401" sldId="1658"/>
            <ac:spMk id="141" creationId="{F615BA23-9ED0-301F-0F6D-8A196DD4608E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7"/>
          <ac:spMkLst>
            <pc:docMk/>
            <pc:sldMk cId="2200607401" sldId="1658"/>
            <ac:spMk id="142" creationId="{753D4E51-F2E3-5388-5FC5-363621997F76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0"/>
          <ac:spMkLst>
            <pc:docMk/>
            <pc:sldMk cId="2200607401" sldId="1658"/>
            <ac:spMk id="143" creationId="{EBCA3CBD-EB56-461C-6242-F4720E53E158}"/>
          </ac:spMkLst>
        </pc:spChg>
        <pc:spChg chg="add del mod ord replST">
          <ac:chgData name="vonWaldow, Ulrich" userId="c64b3fe1-2fbf-4408-adc4-30add62e991f" providerId="ADAL" clId="{B99A90B8-7D29-4456-AFD4-0F3DBA13A596}" dt="2024-08-26T11:22:29.494" v="13942"/>
          <ac:spMkLst>
            <pc:docMk/>
            <pc:sldMk cId="2200607401" sldId="1658"/>
            <ac:spMk id="144" creationId="{3DDBD98F-C0DE-0740-2063-B0776F5E1849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9"/>
          <ac:spMkLst>
            <pc:docMk/>
            <pc:sldMk cId="2200607401" sldId="1658"/>
            <ac:spMk id="145" creationId="{5DB17101-BE9A-B0CC-EFB2-9FEC2C764831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2"/>
          <ac:spMkLst>
            <pc:docMk/>
            <pc:sldMk cId="2200607401" sldId="1658"/>
            <ac:spMk id="146" creationId="{EBCA8699-8D18-A0FF-B3D6-BAF8E095B1D4}"/>
          </ac:spMkLst>
        </pc:spChg>
        <pc:spChg chg="add del mod ord replST">
          <ac:chgData name="vonWaldow, Ulrich" userId="c64b3fe1-2fbf-4408-adc4-30add62e991f" providerId="ADAL" clId="{B99A90B8-7D29-4456-AFD4-0F3DBA13A596}" dt="2024-08-26T11:22:29.494" v="13946"/>
          <ac:spMkLst>
            <pc:docMk/>
            <pc:sldMk cId="2200607401" sldId="1658"/>
            <ac:spMk id="147" creationId="{FED74AD5-3195-96C7-F14E-4A34819F0513}"/>
          </ac:spMkLst>
        </pc:spChg>
        <pc:spChg chg="add del mod modVis">
          <ac:chgData name="vonWaldow, Ulrich" userId="c64b3fe1-2fbf-4408-adc4-30add62e991f" providerId="ADAL" clId="{B99A90B8-7D29-4456-AFD4-0F3DBA13A596}" dt="2024-08-26T11:22:21.824" v="13938"/>
          <ac:spMkLst>
            <pc:docMk/>
            <pc:sldMk cId="2200607401" sldId="1658"/>
            <ac:spMk id="148" creationId="{0C24CB7C-95C6-F730-4771-FFBA18277EF9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4"/>
          <ac:spMkLst>
            <pc:docMk/>
            <pc:sldMk cId="2200607401" sldId="1658"/>
            <ac:spMk id="149" creationId="{B8AD12E4-5EA7-79A6-C99D-B7475AC96594}"/>
          </ac:spMkLst>
        </pc:spChg>
        <pc:spChg chg="add del mod replST">
          <ac:chgData name="vonWaldow, Ulrich" userId="c64b3fe1-2fbf-4408-adc4-30add62e991f" providerId="ADAL" clId="{B99A90B8-7D29-4456-AFD4-0F3DBA13A596}" dt="2024-08-26T11:23:31.138" v="16264"/>
          <ac:spMkLst>
            <pc:docMk/>
            <pc:sldMk cId="2200607401" sldId="1658"/>
            <ac:spMk id="150" creationId="{A9AEB6F7-1028-C6BD-2B5D-63C1749A995A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4"/>
          <ac:spMkLst>
            <pc:docMk/>
            <pc:sldMk cId="2200607401" sldId="1658"/>
            <ac:spMk id="151" creationId="{B286A1B0-A221-E5F0-21F4-859FC205EB03}"/>
          </ac:spMkLst>
        </pc:spChg>
        <pc:spChg chg="add del mod modVis">
          <ac:chgData name="vonWaldow, Ulrich" userId="c64b3fe1-2fbf-4408-adc4-30add62e991f" providerId="ADAL" clId="{B99A90B8-7D29-4456-AFD4-0F3DBA13A596}" dt="2024-08-26T11:22:34.408" v="14203"/>
          <ac:spMkLst>
            <pc:docMk/>
            <pc:sldMk cId="2200607401" sldId="1658"/>
            <ac:spMk id="152" creationId="{BB53E810-D38A-C23E-08FE-49923212E75E}"/>
          </ac:spMkLst>
        </pc:spChg>
        <pc:spChg chg="add del mod ord replST">
          <ac:chgData name="vonWaldow, Ulrich" userId="c64b3fe1-2fbf-4408-adc4-30add62e991f" providerId="ADAL" clId="{B99A90B8-7D29-4456-AFD4-0F3DBA13A596}" dt="2024-08-26T11:23:31.185" v="16321"/>
          <ac:spMkLst>
            <pc:docMk/>
            <pc:sldMk cId="2200607401" sldId="1658"/>
            <ac:spMk id="153" creationId="{DCD81C3D-7BE7-D1F1-AA2F-A5E8EB2C8291}"/>
          </ac:spMkLst>
        </pc:spChg>
        <pc:spChg chg="add del mod replST">
          <ac:chgData name="vonWaldow, Ulrich" userId="c64b3fe1-2fbf-4408-adc4-30add62e991f" providerId="ADAL" clId="{B99A90B8-7D29-4456-AFD4-0F3DBA13A596}" dt="2024-08-26T11:23:52.433" v="18581"/>
          <ac:spMkLst>
            <pc:docMk/>
            <pc:sldMk cId="2200607401" sldId="1658"/>
            <ac:spMk id="15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2:49.251" v="14494"/>
          <ac:spMkLst>
            <pc:docMk/>
            <pc:sldMk cId="2200607401" sldId="1658"/>
            <ac:spMk id="156" creationId="{F5580DA5-C676-C5A9-CE71-5A40D5B4AB73}"/>
          </ac:spMkLst>
        </pc:spChg>
        <pc:spChg chg="add del mod replST">
          <ac:chgData name="vonWaldow, Ulrich" userId="c64b3fe1-2fbf-4408-adc4-30add62e991f" providerId="ADAL" clId="{B99A90B8-7D29-4456-AFD4-0F3DBA13A596}" dt="2024-08-26T11:23:31.043" v="16183"/>
          <ac:spMkLst>
            <pc:docMk/>
            <pc:sldMk cId="2200607401" sldId="1658"/>
            <ac:spMk id="15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3:52.496" v="18676"/>
          <ac:spMkLst>
            <pc:docMk/>
            <pc:sldMk cId="2200607401" sldId="1658"/>
            <ac:spMk id="158" creationId="{5E8B8E7B-9D2F-B90C-14C3-8551B4944D21}"/>
          </ac:spMkLst>
        </pc:spChg>
        <pc:spChg chg="add del mod modVis">
          <ac:chgData name="vonWaldow, Ulrich" userId="c64b3fe1-2fbf-4408-adc4-30add62e991f" providerId="ADAL" clId="{B99A90B8-7D29-4456-AFD4-0F3DBA13A596}" dt="2024-08-26T11:22:50.340" v="14570"/>
          <ac:spMkLst>
            <pc:docMk/>
            <pc:sldMk cId="2200607401" sldId="1658"/>
            <ac:spMk id="159" creationId="{3A508183-5765-BBA3-D2B7-463D736371AC}"/>
          </ac:spMkLst>
        </pc:spChg>
        <pc:spChg chg="add del mod modVis">
          <ac:chgData name="vonWaldow, Ulrich" userId="c64b3fe1-2fbf-4408-adc4-30add62e991f" providerId="ADAL" clId="{B99A90B8-7D29-4456-AFD4-0F3DBA13A596}" dt="2024-08-26T11:22:51.111" v="14655"/>
          <ac:spMkLst>
            <pc:docMk/>
            <pc:sldMk cId="2200607401" sldId="1658"/>
            <ac:spMk id="160" creationId="{D9B156B9-3676-1F14-2877-387E6B97C6E4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7"/>
          <ac:spMkLst>
            <pc:docMk/>
            <pc:sldMk cId="2200607401" sldId="1658"/>
            <ac:spMk id="161" creationId="{8EB65805-B396-7BC7-2426-987B0DAB51D1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5"/>
          <ac:spMkLst>
            <pc:docMk/>
            <pc:sldMk cId="2200607401" sldId="1658"/>
            <ac:spMk id="162" creationId="{5CACCE78-9D0A-AAF7-5D45-98B8EB7AED5B}"/>
          </ac:spMkLst>
        </pc:spChg>
        <pc:spChg chg="add del mod modVis">
          <ac:chgData name="vonWaldow, Ulrich" userId="c64b3fe1-2fbf-4408-adc4-30add62e991f" providerId="ADAL" clId="{B99A90B8-7D29-4456-AFD4-0F3DBA13A596}" dt="2024-08-26T11:22:51.739" v="14887"/>
          <ac:spMkLst>
            <pc:docMk/>
            <pc:sldMk cId="2200607401" sldId="1658"/>
            <ac:spMk id="163" creationId="{F59C1A1E-D6DD-23FA-091E-A8E9F37BBF93}"/>
          </ac:spMkLst>
        </pc:spChg>
        <pc:spChg chg="add del mod ord replST">
          <ac:chgData name="vonWaldow, Ulrich" userId="c64b3fe1-2fbf-4408-adc4-30add62e991f" providerId="ADAL" clId="{B99A90B8-7D29-4456-AFD4-0F3DBA13A596}" dt="2024-08-26T11:23:31.201" v="16347"/>
          <ac:spMkLst>
            <pc:docMk/>
            <pc:sldMk cId="2200607401" sldId="1658"/>
            <ac:spMk id="164" creationId="{46452958-DA0A-04EC-9DA9-E0E864221CA3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6"/>
          <ac:spMkLst>
            <pc:docMk/>
            <pc:sldMk cId="2200607401" sldId="1658"/>
            <ac:spMk id="165" creationId="{7C1373C2-9527-E72A-E012-A14E56AD4816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6"/>
          <ac:spMkLst>
            <pc:docMk/>
            <pc:sldMk cId="2200607401" sldId="1658"/>
            <ac:spMk id="166" creationId="{A9BE5CDC-28C9-51BA-8BF2-B46C2B1D6D33}"/>
          </ac:spMkLst>
        </pc:spChg>
        <pc:spChg chg="add del mod modVis">
          <ac:chgData name="vonWaldow, Ulrich" userId="c64b3fe1-2fbf-4408-adc4-30add62e991f" providerId="ADAL" clId="{B99A90B8-7D29-4456-AFD4-0F3DBA13A596}" dt="2024-08-26T11:22:52.274" v="15141"/>
          <ac:spMkLst>
            <pc:docMk/>
            <pc:sldMk cId="2200607401" sldId="1658"/>
            <ac:spMk id="167" creationId="{1AE2BEC5-EC7D-714E-F338-97B78406D9BF}"/>
          </ac:spMkLst>
        </pc:spChg>
        <pc:spChg chg="add del mod ord replST">
          <ac:chgData name="vonWaldow, Ulrich" userId="c64b3fe1-2fbf-4408-adc4-30add62e991f" providerId="ADAL" clId="{B99A90B8-7D29-4456-AFD4-0F3DBA13A596}" dt="2024-08-26T11:23:31.216" v="16365"/>
          <ac:spMkLst>
            <pc:docMk/>
            <pc:sldMk cId="2200607401" sldId="1658"/>
            <ac:spMk id="168" creationId="{A83DE892-CC15-2D68-5EE9-EF827303954E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5"/>
          <ac:spMkLst>
            <pc:docMk/>
            <pc:sldMk cId="2200607401" sldId="1658"/>
            <ac:spMk id="169" creationId="{67FE6484-708C-74F3-2807-ED371DB4F830}"/>
          </ac:spMkLst>
        </pc:spChg>
        <pc:spChg chg="add del mod replST">
          <ac:chgData name="vonWaldow, Ulrich" userId="c64b3fe1-2fbf-4408-adc4-30add62e991f" providerId="ADAL" clId="{B99A90B8-7D29-4456-AFD4-0F3DBA13A596}" dt="2024-08-26T11:25:51.386" v="22783"/>
          <ac:spMkLst>
            <pc:docMk/>
            <pc:sldMk cId="2200607401" sldId="1658"/>
            <ac:spMk id="170" creationId="{0D9D88DD-F68A-2D35-15CA-7640531CD7D8}"/>
          </ac:spMkLst>
        </pc:spChg>
        <pc:spChg chg="add del mod modVis">
          <ac:chgData name="vonWaldow, Ulrich" userId="c64b3fe1-2fbf-4408-adc4-30add62e991f" providerId="ADAL" clId="{B99A90B8-7D29-4456-AFD4-0F3DBA13A596}" dt="2024-08-26T11:22:53.313" v="15476"/>
          <ac:spMkLst>
            <pc:docMk/>
            <pc:sldMk cId="2200607401" sldId="1658"/>
            <ac:spMk id="171" creationId="{D388A38B-2725-A0FA-D425-35EAAA6C3BD8}"/>
          </ac:spMkLst>
        </pc:spChg>
        <pc:spChg chg="add del mod ord replST">
          <ac:chgData name="vonWaldow, Ulrich" userId="c64b3fe1-2fbf-4408-adc4-30add62e991f" providerId="ADAL" clId="{B99A90B8-7D29-4456-AFD4-0F3DBA13A596}" dt="2024-08-26T11:23:31.216" v="16383"/>
          <ac:spMkLst>
            <pc:docMk/>
            <pc:sldMk cId="2200607401" sldId="1658"/>
            <ac:spMk id="175" creationId="{BDA97D1A-DC7C-5FF7-9CCA-2C50F9814243}"/>
          </ac:spMkLst>
        </pc:spChg>
        <pc:spChg chg="add del mod modVis">
          <ac:chgData name="vonWaldow, Ulrich" userId="c64b3fe1-2fbf-4408-adc4-30add62e991f" providerId="ADAL" clId="{B99A90B8-7D29-4456-AFD4-0F3DBA13A596}" dt="2024-08-26T11:23:02.224" v="15614"/>
          <ac:spMkLst>
            <pc:docMk/>
            <pc:sldMk cId="2200607401" sldId="1658"/>
            <ac:spMk id="176" creationId="{76D94DBD-5214-4389-AF55-D189269C0F0C}"/>
          </ac:spMkLst>
        </pc:spChg>
        <pc:spChg chg="add del mod modVis">
          <ac:chgData name="vonWaldow, Ulrich" userId="c64b3fe1-2fbf-4408-adc4-30add62e991f" providerId="ADAL" clId="{B99A90B8-7D29-4456-AFD4-0F3DBA13A596}" dt="2024-08-26T11:23:03.391" v="15754"/>
          <ac:spMkLst>
            <pc:docMk/>
            <pc:sldMk cId="2200607401" sldId="1658"/>
            <ac:spMk id="177" creationId="{0512B461-6F5E-DD04-850A-42E272BD5E93}"/>
          </ac:spMkLst>
        </pc:spChg>
        <pc:spChg chg="add del mod modVis">
          <ac:chgData name="vonWaldow, Ulrich" userId="c64b3fe1-2fbf-4408-adc4-30add62e991f" providerId="ADAL" clId="{B99A90B8-7D29-4456-AFD4-0F3DBA13A596}" dt="2024-08-26T11:23:04.324" v="15892"/>
          <ac:spMkLst>
            <pc:docMk/>
            <pc:sldMk cId="2200607401" sldId="1658"/>
            <ac:spMk id="178" creationId="{7A53D2CB-382C-50B0-7227-B833C8616E4F}"/>
          </ac:spMkLst>
        </pc:spChg>
        <pc:spChg chg="add del mod modVis">
          <ac:chgData name="vonWaldow, Ulrich" userId="c64b3fe1-2fbf-4408-adc4-30add62e991f" providerId="ADAL" clId="{B99A90B8-7D29-4456-AFD4-0F3DBA13A596}" dt="2024-08-26T11:23:07.674" v="16032"/>
          <ac:spMkLst>
            <pc:docMk/>
            <pc:sldMk cId="2200607401" sldId="1658"/>
            <ac:spMk id="179" creationId="{E5CA5C80-DD51-4442-8E15-7CE0839BFE0F}"/>
          </ac:spMkLst>
        </pc:spChg>
        <pc:spChg chg="add del mod modVis">
          <ac:chgData name="vonWaldow, Ulrich" userId="c64b3fe1-2fbf-4408-adc4-30add62e991f" providerId="ADAL" clId="{B99A90B8-7D29-4456-AFD4-0F3DBA13A596}" dt="2024-08-26T11:23:09.585" v="16168"/>
          <ac:spMkLst>
            <pc:docMk/>
            <pc:sldMk cId="2200607401" sldId="1658"/>
            <ac:spMk id="180" creationId="{ACBAF683-85D0-87B0-4B0D-B707832196DD}"/>
          </ac:spMkLst>
        </pc:spChg>
        <pc:spChg chg="add del mod replST">
          <ac:chgData name="vonWaldow, Ulrich" userId="c64b3fe1-2fbf-4408-adc4-30add62e991f" providerId="ADAL" clId="{B99A90B8-7D29-4456-AFD4-0F3DBA13A596}" dt="2024-08-26T11:24:10.035" v="20243"/>
          <ac:spMkLst>
            <pc:docMk/>
            <pc:sldMk cId="2200607401" sldId="1658"/>
            <ac:spMk id="181" creationId="{57711E56-2435-06B5-E330-785D6559341A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58"/>
          <ac:spMkLst>
            <pc:docMk/>
            <pc:sldMk cId="2200607401" sldId="1658"/>
            <ac:spMk id="182" creationId="{DFFBE123-DBD7-D893-DA0A-5E2909D9B7B4}"/>
          </ac:spMkLst>
        </pc:spChg>
        <pc:spChg chg="add del mod modVis">
          <ac:chgData name="vonWaldow, Ulrich" userId="c64b3fe1-2fbf-4408-adc4-30add62e991f" providerId="ADAL" clId="{B99A90B8-7D29-4456-AFD4-0F3DBA13A596}" dt="2024-08-26T11:23:31.298" v="16533"/>
          <ac:spMkLst>
            <pc:docMk/>
            <pc:sldMk cId="2200607401" sldId="1658"/>
            <ac:spMk id="183" creationId="{31D02843-9559-F42B-7A9B-7BB71E85414A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1" actId="16931"/>
          <ac:spMkLst>
            <pc:docMk/>
            <pc:sldMk cId="2200607401" sldId="1658"/>
            <ac:spMk id="184" creationId="{50E4D9A9-E5A5-8AD2-CDBA-3596B7356077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41"/>
          <ac:spMkLst>
            <pc:docMk/>
            <pc:sldMk cId="2200607401" sldId="1658"/>
            <ac:spMk id="186" creationId="{50DDD2BE-538A-5CEF-FD28-29B2E432B8A1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9"/>
          <ac:spMkLst>
            <pc:docMk/>
            <pc:sldMk cId="2200607401" sldId="1658"/>
            <ac:spMk id="187" creationId="{04F4ACA8-9E54-41AD-8F39-ED0C83B386E6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6"/>
          <ac:spMkLst>
            <pc:docMk/>
            <pc:sldMk cId="2200607401" sldId="1658"/>
            <ac:spMk id="188" creationId="{A52392E6-A367-FCDE-39A5-06CEE5B73D6A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2"/>
          <ac:spMkLst>
            <pc:docMk/>
            <pc:sldMk cId="2200607401" sldId="1658"/>
            <ac:spMk id="189" creationId="{D24196BE-B288-62C2-5738-ACDD68B3D4BE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50"/>
          <ac:spMkLst>
            <pc:docMk/>
            <pc:sldMk cId="2200607401" sldId="1658"/>
            <ac:spMk id="191" creationId="{CE07FA85-8E15-B9E9-A3B8-87CD7BA2EBB0}"/>
          </ac:spMkLst>
        </pc:spChg>
        <pc:spChg chg="add del mod modVis">
          <ac:chgData name="vonWaldow, Ulrich" userId="c64b3fe1-2fbf-4408-adc4-30add62e991f" providerId="ADAL" clId="{B99A90B8-7D29-4456-AFD4-0F3DBA13A596}" dt="2024-08-26T11:23:43.665" v="16878"/>
          <ac:spMkLst>
            <pc:docMk/>
            <pc:sldMk cId="2200607401" sldId="1658"/>
            <ac:spMk id="192" creationId="{D83EA12F-90F8-AD65-9060-104EB9155C01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5" actId="16931"/>
          <ac:spMkLst>
            <pc:docMk/>
            <pc:sldMk cId="2200607401" sldId="1658"/>
            <ac:spMk id="195" creationId="{8E3D67DB-4046-C25B-E787-59485117A26C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1"/>
          <ac:spMkLst>
            <pc:docMk/>
            <pc:sldMk cId="2200607401" sldId="1658"/>
            <ac:spMk id="196" creationId="{79191960-ADCB-5C7E-A595-7413A705D9F9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45"/>
          <ac:spMkLst>
            <pc:docMk/>
            <pc:sldMk cId="2200607401" sldId="1658"/>
            <ac:spMk id="197" creationId="{E19D086C-88B0-0CB9-20C7-0B0EC27686F0}"/>
          </ac:spMkLst>
        </pc:spChg>
        <pc:spChg chg="add del mod modVis">
          <ac:chgData name="vonWaldow, Ulrich" userId="c64b3fe1-2fbf-4408-adc4-30add62e991f" providerId="ADAL" clId="{B99A90B8-7D29-4456-AFD4-0F3DBA13A596}" dt="2024-08-26T11:23:45.271" v="17208"/>
          <ac:spMkLst>
            <pc:docMk/>
            <pc:sldMk cId="2200607401" sldId="1658"/>
            <ac:spMk id="198" creationId="{9A7337C5-E73A-22D4-D3EB-D01563C23EA1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9" actId="16931"/>
          <ac:spMkLst>
            <pc:docMk/>
            <pc:sldMk cId="2200607401" sldId="1658"/>
            <ac:spMk id="202" creationId="{87F4A72F-73DA-5E8C-1B66-580CE1FD72F4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63"/>
          <ac:spMkLst>
            <pc:docMk/>
            <pc:sldMk cId="2200607401" sldId="1658"/>
            <ac:spMk id="203" creationId="{74498340-E532-7856-D17F-67B22B44468C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4"/>
          <ac:spMkLst>
            <pc:docMk/>
            <pc:sldMk cId="2200607401" sldId="1658"/>
            <ac:spMk id="204" creationId="{0A263783-B118-ED97-84FE-A6FD6590BE07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55"/>
          <ac:spMkLst>
            <pc:docMk/>
            <pc:sldMk cId="2200607401" sldId="1658"/>
            <ac:spMk id="205" creationId="{AC6D6B90-48EC-2F3D-C3DF-C35E72BD6E14}"/>
          </ac:spMkLst>
        </pc:spChg>
        <pc:spChg chg="add del mod modVis">
          <ac:chgData name="vonWaldow, Ulrich" userId="c64b3fe1-2fbf-4408-adc4-30add62e991f" providerId="ADAL" clId="{B99A90B8-7D29-4456-AFD4-0F3DBA13A596}" dt="2024-08-26T11:23:46.168" v="17751"/>
          <ac:spMkLst>
            <pc:docMk/>
            <pc:sldMk cId="2200607401" sldId="1658"/>
            <ac:spMk id="206" creationId="{1674A1EE-890A-E607-FE59-4421EAA0DDE9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40"/>
          <ac:spMkLst>
            <pc:docMk/>
            <pc:sldMk cId="2200607401" sldId="1658"/>
            <ac:spMk id="209" creationId="{0E87075E-47D4-8CAC-E430-515EAF077233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7"/>
          <ac:spMkLst>
            <pc:docMk/>
            <pc:sldMk cId="2200607401" sldId="1658"/>
            <ac:spMk id="213" creationId="{165762BA-BE7D-702F-4994-674F707F739D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9"/>
          <ac:spMkLst>
            <pc:docMk/>
            <pc:sldMk cId="2200607401" sldId="1658"/>
            <ac:spMk id="214" creationId="{807016C0-F2A8-7241-75E3-71D884842367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8"/>
          <ac:spMkLst>
            <pc:docMk/>
            <pc:sldMk cId="2200607401" sldId="1658"/>
            <ac:spMk id="215" creationId="{AB168D60-1CE0-C22F-468B-6132A47A617C}"/>
          </ac:spMkLst>
        </pc:spChg>
        <pc:spChg chg="add del mod modVis">
          <ac:chgData name="vonWaldow, Ulrich" userId="c64b3fe1-2fbf-4408-adc4-30add62e991f" providerId="ADAL" clId="{B99A90B8-7D29-4456-AFD4-0F3DBA13A596}" dt="2024-08-26T11:23:47.252" v="18077"/>
          <ac:spMkLst>
            <pc:docMk/>
            <pc:sldMk cId="2200607401" sldId="1658"/>
            <ac:spMk id="216" creationId="{8D122361-9E19-642E-03B0-4E4BAC7E56E5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3"/>
          <ac:spMkLst>
            <pc:docMk/>
            <pc:sldMk cId="2200607401" sldId="1658"/>
            <ac:spMk id="217" creationId="{FA944A44-138F-EF20-DE4E-0468D988DC74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68"/>
          <ac:spMkLst>
            <pc:docMk/>
            <pc:sldMk cId="2200607401" sldId="1658"/>
            <ac:spMk id="218" creationId="{99834EE7-F8E4-9BD9-E413-CAD3AD7BBBB0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7"/>
          <ac:spMkLst>
            <pc:docMk/>
            <pc:sldMk cId="2200607401" sldId="1658"/>
            <ac:spMk id="219" creationId="{C7233068-6DD2-5674-5E2A-53BB5C75EB46}"/>
          </ac:spMkLst>
        </pc:spChg>
        <pc:spChg chg="add del mod modVis">
          <ac:chgData name="vonWaldow, Ulrich" userId="c64b3fe1-2fbf-4408-adc4-30add62e991f" providerId="ADAL" clId="{B99A90B8-7D29-4456-AFD4-0F3DBA13A596}" dt="2024-08-26T11:23:48.271" v="18573"/>
          <ac:spMkLst>
            <pc:docMk/>
            <pc:sldMk cId="2200607401" sldId="1658"/>
            <ac:spMk id="220" creationId="{EA6BDEB8-1245-A43F-13DA-6C33A5A52676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8"/>
          <ac:spMkLst>
            <pc:docMk/>
            <pc:sldMk cId="2200607401" sldId="1658"/>
            <ac:spMk id="223" creationId="{65DA1852-9FC1-D4AA-6686-4C0B3FA78DE0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4"/>
          <ac:spMkLst>
            <pc:docMk/>
            <pc:sldMk cId="2200607401" sldId="1658"/>
            <ac:spMk id="224" creationId="{3F7D314D-17B7-437C-FAFF-E7E5BAA34B6F}"/>
          </ac:spMkLst>
        </pc:spChg>
        <pc:spChg chg="add del mod modVis">
          <ac:chgData name="vonWaldow, Ulrich" userId="c64b3fe1-2fbf-4408-adc4-30add62e991f" providerId="ADAL" clId="{B99A90B8-7D29-4456-AFD4-0F3DBA13A596}" dt="2024-08-26T11:23:52.543" v="18746"/>
          <ac:spMkLst>
            <pc:docMk/>
            <pc:sldMk cId="2200607401" sldId="1658"/>
            <ac:spMk id="225" creationId="{79AED4AE-CF33-0CA4-8662-0733A2431BAD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40"/>
          <ac:spMkLst>
            <pc:docMk/>
            <pc:sldMk cId="2200607401" sldId="1658"/>
            <ac:spMk id="226" creationId="{20A2CAAC-D12F-C427-0073-71657EBCB1B8}"/>
          </ac:spMkLst>
        </pc:spChg>
        <pc:spChg chg="add del mod modVis">
          <ac:chgData name="vonWaldow, Ulrich" userId="c64b3fe1-2fbf-4408-adc4-30add62e991f" providerId="ADAL" clId="{B99A90B8-7D29-4456-AFD4-0F3DBA13A596}" dt="2024-08-26T11:23:57.769" v="19234"/>
          <ac:spMkLst>
            <pc:docMk/>
            <pc:sldMk cId="2200607401" sldId="1658"/>
            <ac:spMk id="227" creationId="{C3A46605-3F86-D8D6-98DC-88403A22EFC5}"/>
          </ac:spMkLst>
        </pc:spChg>
        <pc:spChg chg="add mod ord replST">
          <ac:chgData name="vonWaldow, Ulrich" userId="c64b3fe1-2fbf-4408-adc4-30add62e991f" providerId="ADAL" clId="{B99A90B8-7D29-4456-AFD4-0F3DBA13A596}" dt="2024-08-26T11:29:20.394" v="31273" actId="16931"/>
          <ac:spMkLst>
            <pc:docMk/>
            <pc:sldMk cId="2200607401" sldId="1658"/>
            <ac:spMk id="230" creationId="{E7C4FEF8-113A-D334-1E36-D0E54378CCC5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6"/>
          <ac:spMkLst>
            <pc:docMk/>
            <pc:sldMk cId="2200607401" sldId="1658"/>
            <ac:spMk id="231" creationId="{094CA14B-E6B5-05EB-6CE0-A60C5B0772E4}"/>
          </ac:spMkLst>
        </pc:spChg>
        <pc:spChg chg="add del mod modVis">
          <ac:chgData name="vonWaldow, Ulrich" userId="c64b3fe1-2fbf-4408-adc4-30add62e991f" providerId="ADAL" clId="{B99A90B8-7D29-4456-AFD4-0F3DBA13A596}" dt="2024-08-26T11:23:58.794" v="19564"/>
          <ac:spMkLst>
            <pc:docMk/>
            <pc:sldMk cId="2200607401" sldId="1658"/>
            <ac:spMk id="232" creationId="{2367DBD6-CCFF-7B8A-CE31-40092CF688B2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5"/>
          <ac:spMkLst>
            <pc:docMk/>
            <pc:sldMk cId="2200607401" sldId="1658"/>
            <ac:spMk id="233" creationId="{AB50B7DE-C3BB-B481-1E3E-037BAF38AE35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5"/>
          <ac:spMkLst>
            <pc:docMk/>
            <pc:sldMk cId="2200607401" sldId="1658"/>
            <ac:spMk id="234" creationId="{BC35EEB5-5533-3128-5796-BE280AE738F5}"/>
          </ac:spMkLst>
        </pc:spChg>
        <pc:spChg chg="add del mod modVis">
          <ac:chgData name="vonWaldow, Ulrich" userId="c64b3fe1-2fbf-4408-adc4-30add62e991f" providerId="ADAL" clId="{B99A90B8-7D29-4456-AFD4-0F3DBA13A596}" dt="2024-08-26T11:24:00.287" v="20033"/>
          <ac:spMkLst>
            <pc:docMk/>
            <pc:sldMk cId="2200607401" sldId="1658"/>
            <ac:spMk id="235" creationId="{0ACB9AB3-472C-4A29-6C26-C4AE954E7265}"/>
          </ac:spMkLst>
        </pc:spChg>
        <pc:spChg chg="add mod ord replST">
          <ac:chgData name="vonWaldow, Ulrich" userId="c64b3fe1-2fbf-4408-adc4-30add62e991f" providerId="ADAL" clId="{B99A90B8-7D29-4456-AFD4-0F3DBA13A596}" dt="2024-08-26T11:29:20.396" v="31277" actId="16931"/>
          <ac:spMkLst>
            <pc:docMk/>
            <pc:sldMk cId="2200607401" sldId="1658"/>
            <ac:spMk id="236" creationId="{83AF4AA8-9A68-B05C-A0C3-C72615803BB3}"/>
          </ac:spMkLst>
        </pc:spChg>
        <pc:spChg chg="add del mod">
          <ac:chgData name="vonWaldow, Ulrich" userId="c64b3fe1-2fbf-4408-adc4-30add62e991f" providerId="ADAL" clId="{B99A90B8-7D29-4456-AFD4-0F3DBA13A596}" dt="2024-08-26T11:33:17.839" v="31517" actId="478"/>
          <ac:spMkLst>
            <pc:docMk/>
            <pc:sldMk cId="2200607401" sldId="1658"/>
            <ac:spMk id="238" creationId="{81DA55B0-8D0E-500C-D2FF-E74CB7D4C59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0" creationId="{72E46DA8-5FDE-A05A-5655-A91B658DEEB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1" creationId="{436A3DDE-D46D-0F06-7E21-640A7528A92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2" creationId="{8AA25DC9-D974-5FCF-CCFD-1DED5C6831B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3" creationId="{C5F0B3CE-A1EF-6056-C1E0-ECF375453F2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4" creationId="{32BA218A-175F-623E-FE72-FC4A8EDD6F8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5" creationId="{B3427E1C-B0C6-D9FD-77EC-83F69EB1595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6" creationId="{B848E409-89AE-84F9-EF51-CE2BEFFA3EE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7" creationId="{67C6E37F-9C7C-C9BF-4E2B-8B1EA5A27C4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8" creationId="{F8D9F5D8-2841-484D-E8C7-C2C0D1134A9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9" creationId="{AF9D13CE-A94C-78DF-2966-1BC69F18A2B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0" creationId="{4097813B-A7CA-3EBC-ED65-613429997D32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1" creationId="{3D3B418E-AF7F-C6E2-98AF-F0827BF0937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2" creationId="{4290998A-3E87-6A50-545D-90CA5A9E626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3" creationId="{FFFCE17C-A637-E221-EB4A-AB8C0FCE1EC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4" creationId="{282D82D7-6769-FC91-6A67-6CDEC948533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5" creationId="{03ECD510-A95E-B13E-7B90-7917BD147FF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6" creationId="{45EE4635-A663-83E4-F3E5-BF9E85F0AA1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7" creationId="{9427477E-E70B-66D5-FFAE-398788E7EC2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8" creationId="{C0FBEC90-D3E8-CBD6-4599-FB0870704F9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9" creationId="{ACD81CEA-304A-9BFA-AA1D-30E53838F8BD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0" creationId="{082E7F2B-1B1B-725D-722A-24C2488FA7D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1" creationId="{3D005252-99AC-B60B-FD2C-76806B16E62D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2" creationId="{2B07D93C-66D9-D4B8-7E39-CFB9FF822B0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3" creationId="{8FEA652D-FEAD-3EFF-307E-7255C79F85E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4" creationId="{4E087F15-5004-6A5D-CE78-7A2289F773AE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5" creationId="{2784F1AD-6264-55F9-44CA-94BD88A69582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6" creationId="{B8C721C9-0A73-4086-DBF5-8E933FBF592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7" creationId="{BE3EC7FE-D0CB-FD59-EBBE-7D7CA42D058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8" creationId="{B83F97E6-A9BD-7C00-E0A5-E4883453379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9" creationId="{EA96EAC3-5E65-8635-54EE-91609F21039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0" creationId="{ADF6A50B-C696-AB29-AE5D-9D402AD77DD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1" creationId="{93BE5BA8-6AD0-B3B8-053D-5B8006C8256E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2" creationId="{784A0EBA-EE41-3168-C9B6-2C6FDADD773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3" creationId="{3233A566-E837-F4A5-D6DB-E3150F4340A8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4" creationId="{4D365043-681C-BE19-5BFA-96ABCB14B46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5" creationId="{E8B49C66-DC40-4634-C1ED-2BA3BE9B11B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6" creationId="{FE8087C7-6A14-D049-D62E-C9AF15AE79D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7" creationId="{E0CE9CA5-453E-731F-4DF3-7CFACF71328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8" creationId="{50827745-7425-00E8-41E5-8128DFA23E5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9" creationId="{23EC3612-FE71-C412-8418-B3AF589C70D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0" creationId="{AF8BF307-9CB6-03A8-3915-62643D8F9C4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1" creationId="{4A7A926F-0064-483E-87CD-82CEAFBC095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2" creationId="{0458BED0-4C15-80B1-DDEE-4CED5B539ED6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3" creationId="{E523BDCA-EB04-ECEC-9163-829BD3F931E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4" creationId="{F1A7102A-DF1A-5CE3-9B3F-9498524EEBD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5" creationId="{62E7F9F6-B906-7FE7-6589-948E5669364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6" creationId="{9DBDBAB3-1930-E3C2-250F-FAD019CCBFC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7" creationId="{A095389C-18CD-545D-B8DE-170185F9050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8" creationId="{E9B81857-798A-51C8-40FE-8C7E7AAC14E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9" creationId="{8E144E79-EC17-94B8-AE10-205DCC11300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0" creationId="{42AE65E4-96B4-2EBA-241C-74AA4689390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1" creationId="{56CD56E8-B399-AF3D-B24F-74C09AD8594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2" creationId="{DBAAEFE7-3CE4-D456-BF46-96538475165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3" creationId="{A58C924C-FA18-1AD2-5C48-4E20692A590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4" creationId="{3B22A1D3-CE66-7717-F4C3-620ADA34F24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5" creationId="{116FC998-C149-CDF3-F6CD-D8A5A4506606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6" creationId="{B3320C54-19D0-957B-8760-78EC1D2691D6}"/>
          </ac:spMkLst>
        </pc:spChg>
        <pc:spChg chg="add del mod modVis">
          <ac:chgData name="vonWaldow, Ulrich" userId="c64b3fe1-2fbf-4408-adc4-30add62e991f" providerId="ADAL" clId="{B99A90B8-7D29-4456-AFD4-0F3DBA13A596}" dt="2024-08-26T11:25:35.584" v="22780"/>
          <ac:spMkLst>
            <pc:docMk/>
            <pc:sldMk cId="2200607401" sldId="1658"/>
            <ac:spMk id="298" creationId="{B263BD71-C380-706E-3E8A-1F742258D753}"/>
          </ac:spMkLst>
        </pc:spChg>
        <pc:spChg chg="add del mod replST">
          <ac:chgData name="vonWaldow, Ulrich" userId="c64b3fe1-2fbf-4408-adc4-30add62e991f" providerId="ADAL" clId="{B99A90B8-7D29-4456-AFD4-0F3DBA13A596}" dt="2024-08-26T11:26:21.285" v="23591"/>
          <ac:spMkLst>
            <pc:docMk/>
            <pc:sldMk cId="2200607401" sldId="1658"/>
            <ac:spMk id="29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5:59.546" v="23252"/>
          <ac:spMkLst>
            <pc:docMk/>
            <pc:sldMk cId="2200607401" sldId="1658"/>
            <ac:spMk id="300" creationId="{69C09D44-F816-C374-1C54-A537D8541102}"/>
          </ac:spMkLst>
        </pc:spChg>
        <pc:spChg chg="add del mod replST">
          <ac:chgData name="vonWaldow, Ulrich" userId="c64b3fe1-2fbf-4408-adc4-30add62e991f" providerId="ADAL" clId="{B99A90B8-7D29-4456-AFD4-0F3DBA13A596}" dt="2024-08-26T11:26:21.285" v="23594"/>
          <ac:spMkLst>
            <pc:docMk/>
            <pc:sldMk cId="2200607401" sldId="1658"/>
            <ac:spMk id="30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597"/>
          <ac:spMkLst>
            <pc:docMk/>
            <pc:sldMk cId="2200607401" sldId="1658"/>
            <ac:spMk id="30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600"/>
          <ac:spMkLst>
            <pc:docMk/>
            <pc:sldMk cId="2200607401" sldId="1658"/>
            <ac:spMk id="30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601"/>
          <ac:spMkLst>
            <pc:docMk/>
            <pc:sldMk cId="2200607401" sldId="1658"/>
            <ac:spMk id="30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01.277" v="23337"/>
          <ac:spMkLst>
            <pc:docMk/>
            <pc:sldMk cId="2200607401" sldId="1658"/>
            <ac:spMk id="309" creationId="{F120F916-0111-AF71-7737-C1991D3BB431}"/>
          </ac:spMkLst>
        </pc:spChg>
        <pc:spChg chg="add del mod modVis">
          <ac:chgData name="vonWaldow, Ulrich" userId="c64b3fe1-2fbf-4408-adc4-30add62e991f" providerId="ADAL" clId="{B99A90B8-7D29-4456-AFD4-0F3DBA13A596}" dt="2024-08-26T11:26:07.817" v="23396"/>
          <ac:spMkLst>
            <pc:docMk/>
            <pc:sldMk cId="2200607401" sldId="1658"/>
            <ac:spMk id="310" creationId="{DE355211-D870-0F11-3F26-611CB2B7B2F0}"/>
          </ac:spMkLst>
        </pc:spChg>
        <pc:spChg chg="add del mod modVis">
          <ac:chgData name="vonWaldow, Ulrich" userId="c64b3fe1-2fbf-4408-adc4-30add62e991f" providerId="ADAL" clId="{B99A90B8-7D29-4456-AFD4-0F3DBA13A596}" dt="2024-08-26T11:26:08.643" v="23455"/>
          <ac:spMkLst>
            <pc:docMk/>
            <pc:sldMk cId="2200607401" sldId="1658"/>
            <ac:spMk id="311" creationId="{4D064561-B1B0-D154-58FB-5C372879B06D}"/>
          </ac:spMkLst>
        </pc:spChg>
        <pc:spChg chg="add del mod modVis">
          <ac:chgData name="vonWaldow, Ulrich" userId="c64b3fe1-2fbf-4408-adc4-30add62e991f" providerId="ADAL" clId="{B99A90B8-7D29-4456-AFD4-0F3DBA13A596}" dt="2024-08-26T11:26:09.720" v="23527"/>
          <ac:spMkLst>
            <pc:docMk/>
            <pc:sldMk cId="2200607401" sldId="1658"/>
            <ac:spMk id="312" creationId="{26A50587-2638-D889-8A4D-C2BA2A33854E}"/>
          </ac:spMkLst>
        </pc:spChg>
        <pc:spChg chg="add del mod modVis">
          <ac:chgData name="vonWaldow, Ulrich" userId="c64b3fe1-2fbf-4408-adc4-30add62e991f" providerId="ADAL" clId="{B99A90B8-7D29-4456-AFD4-0F3DBA13A596}" dt="2024-08-26T11:26:11.890" v="23586"/>
          <ac:spMkLst>
            <pc:docMk/>
            <pc:sldMk cId="2200607401" sldId="1658"/>
            <ac:spMk id="313" creationId="{3C179BA3-DE79-D791-C45B-B4155826CAAE}"/>
          </ac:spMkLst>
        </pc:spChg>
        <pc:spChg chg="add del mod modVis">
          <ac:chgData name="vonWaldow, Ulrich" userId="c64b3fe1-2fbf-4408-adc4-30add62e991f" providerId="ADAL" clId="{B99A90B8-7D29-4456-AFD4-0F3DBA13A596}" dt="2024-08-26T11:26:25.866" v="23950"/>
          <ac:spMkLst>
            <pc:docMk/>
            <pc:sldMk cId="2200607401" sldId="1658"/>
            <ac:spMk id="314" creationId="{F0DE74CE-EE88-0316-2718-A97E9280B8FB}"/>
          </ac:spMkLst>
        </pc:spChg>
        <pc:spChg chg="add del mod modVis">
          <ac:chgData name="vonWaldow, Ulrich" userId="c64b3fe1-2fbf-4408-adc4-30add62e991f" providerId="ADAL" clId="{B99A90B8-7D29-4456-AFD4-0F3DBA13A596}" dt="2024-08-26T11:26:27.420" v="24153"/>
          <ac:spMkLst>
            <pc:docMk/>
            <pc:sldMk cId="2200607401" sldId="1658"/>
            <ac:spMk id="321" creationId="{30C02058-80FE-1D0F-AE6F-AFEDE2F1CD4F}"/>
          </ac:spMkLst>
        </pc:spChg>
        <pc:spChg chg="add del mod modVis">
          <ac:chgData name="vonWaldow, Ulrich" userId="c64b3fe1-2fbf-4408-adc4-30add62e991f" providerId="ADAL" clId="{B99A90B8-7D29-4456-AFD4-0F3DBA13A596}" dt="2024-08-26T11:26:31.019" v="24592"/>
          <ac:spMkLst>
            <pc:docMk/>
            <pc:sldMk cId="2200607401" sldId="1658"/>
            <ac:spMk id="328" creationId="{2257BCF0-424D-4B11-03D8-653DC9F3899B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5"/>
          <ac:spMkLst>
            <pc:docMk/>
            <pc:sldMk cId="2200607401" sldId="1658"/>
            <ac:spMk id="329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7"/>
          <ac:spMkLst>
            <pc:docMk/>
            <pc:sldMk cId="2200607401" sldId="1658"/>
            <ac:spMk id="33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9"/>
          <ac:spMkLst>
            <pc:docMk/>
            <pc:sldMk cId="2200607401" sldId="1658"/>
            <ac:spMk id="33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1"/>
          <ac:spMkLst>
            <pc:docMk/>
            <pc:sldMk cId="2200607401" sldId="1658"/>
            <ac:spMk id="33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3"/>
          <ac:spMkLst>
            <pc:docMk/>
            <pc:sldMk cId="2200607401" sldId="1658"/>
            <ac:spMk id="33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5"/>
          <ac:spMkLst>
            <pc:docMk/>
            <pc:sldMk cId="2200607401" sldId="1658"/>
            <ac:spMk id="33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38.144" v="25162"/>
          <ac:spMkLst>
            <pc:docMk/>
            <pc:sldMk cId="2200607401" sldId="1658"/>
            <ac:spMk id="335" creationId="{E0EA794C-D4A9-8E6D-7B01-568F1AF09BC0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7"/>
          <ac:spMkLst>
            <pc:docMk/>
            <pc:sldMk cId="2200607401" sldId="1658"/>
            <ac:spMk id="33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9"/>
          <ac:spMkLst>
            <pc:docMk/>
            <pc:sldMk cId="2200607401" sldId="1658"/>
            <ac:spMk id="337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1"/>
          <ac:spMkLst>
            <pc:docMk/>
            <pc:sldMk cId="2200607401" sldId="1658"/>
            <ac:spMk id="338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3"/>
          <ac:spMkLst>
            <pc:docMk/>
            <pc:sldMk cId="2200607401" sldId="1658"/>
            <ac:spMk id="339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5"/>
          <ac:spMkLst>
            <pc:docMk/>
            <pc:sldMk cId="2200607401" sldId="1658"/>
            <ac:spMk id="34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7"/>
          <ac:spMkLst>
            <pc:docMk/>
            <pc:sldMk cId="2200607401" sldId="1658"/>
            <ac:spMk id="34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41.160" v="25750"/>
          <ac:spMkLst>
            <pc:docMk/>
            <pc:sldMk cId="2200607401" sldId="1658"/>
            <ac:spMk id="349" creationId="{3E4E0FA4-1588-963F-2525-B482C47A6FB2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8"/>
          <ac:spMkLst>
            <pc:docMk/>
            <pc:sldMk cId="2200607401" sldId="1658"/>
            <ac:spMk id="35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50"/>
          <ac:spMkLst>
            <pc:docMk/>
            <pc:sldMk cId="2200607401" sldId="1658"/>
            <ac:spMk id="35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2"/>
          <ac:spMkLst>
            <pc:docMk/>
            <pc:sldMk cId="2200607401" sldId="1658"/>
            <ac:spMk id="35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4"/>
          <ac:spMkLst>
            <pc:docMk/>
            <pc:sldMk cId="2200607401" sldId="1658"/>
            <ac:spMk id="35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6"/>
          <ac:spMkLst>
            <pc:docMk/>
            <pc:sldMk cId="2200607401" sldId="1658"/>
            <ac:spMk id="35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42.401" v="25977"/>
          <ac:spMkLst>
            <pc:docMk/>
            <pc:sldMk cId="2200607401" sldId="1658"/>
            <ac:spMk id="360" creationId="{24162D2A-2B1B-E977-DA21-BE73F3D4B04C}"/>
          </ac:spMkLst>
        </pc:spChg>
        <pc:spChg chg="add del mod modVis">
          <ac:chgData name="vonWaldow, Ulrich" userId="c64b3fe1-2fbf-4408-adc4-30add62e991f" providerId="ADAL" clId="{B99A90B8-7D29-4456-AFD4-0F3DBA13A596}" dt="2024-08-26T11:26:46.615" v="27118"/>
          <ac:spMkLst>
            <pc:docMk/>
            <pc:sldMk cId="2200607401" sldId="1658"/>
            <ac:spMk id="361" creationId="{16A16627-A87D-74B6-F31D-8F49FE424D1F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5"/>
          <ac:spMkLst>
            <pc:docMk/>
            <pc:sldMk cId="2200607401" sldId="1658"/>
            <ac:spMk id="36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4"/>
          <ac:spMkLst>
            <pc:docMk/>
            <pc:sldMk cId="2200607401" sldId="1658"/>
            <ac:spMk id="36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3"/>
          <ac:spMkLst>
            <pc:docMk/>
            <pc:sldMk cId="2200607401" sldId="1658"/>
            <ac:spMk id="36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2"/>
          <ac:spMkLst>
            <pc:docMk/>
            <pc:sldMk cId="2200607401" sldId="1658"/>
            <ac:spMk id="36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1"/>
          <ac:spMkLst>
            <pc:docMk/>
            <pc:sldMk cId="2200607401" sldId="1658"/>
            <ac:spMk id="36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0"/>
          <ac:spMkLst>
            <pc:docMk/>
            <pc:sldMk cId="2200607401" sldId="1658"/>
            <ac:spMk id="36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9"/>
          <ac:spMkLst>
            <pc:docMk/>
            <pc:sldMk cId="2200607401" sldId="1658"/>
            <ac:spMk id="3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8"/>
          <ac:spMkLst>
            <pc:docMk/>
            <pc:sldMk cId="2200607401" sldId="1658"/>
            <ac:spMk id="3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7"/>
          <ac:spMkLst>
            <pc:docMk/>
            <pc:sldMk cId="2200607401" sldId="1658"/>
            <ac:spMk id="3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6"/>
          <ac:spMkLst>
            <pc:docMk/>
            <pc:sldMk cId="2200607401" sldId="1658"/>
            <ac:spMk id="37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54.249" v="28072"/>
          <ac:spMkLst>
            <pc:docMk/>
            <pc:sldMk cId="2200607401" sldId="1658"/>
            <ac:spMk id="382" creationId="{A2C75D4F-9968-44C1-7458-5FFF70DC3DA6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6"/>
          <ac:spMkLst>
            <pc:docMk/>
            <pc:sldMk cId="2200607401" sldId="1658"/>
            <ac:spMk id="38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8"/>
          <ac:spMkLst>
            <pc:docMk/>
            <pc:sldMk cId="2200607401" sldId="1658"/>
            <ac:spMk id="384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0"/>
          <ac:spMkLst>
            <pc:docMk/>
            <pc:sldMk cId="2200607401" sldId="1658"/>
            <ac:spMk id="385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2"/>
          <ac:spMkLst>
            <pc:docMk/>
            <pc:sldMk cId="2200607401" sldId="1658"/>
            <ac:spMk id="38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4"/>
          <ac:spMkLst>
            <pc:docMk/>
            <pc:sldMk cId="2200607401" sldId="1658"/>
            <ac:spMk id="38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7:16.560" v="28168"/>
          <ac:spMkLst>
            <pc:docMk/>
            <pc:sldMk cId="2200607401" sldId="1658"/>
            <ac:spMk id="393" creationId="{1103CC8E-EC20-CEC3-7BD5-FA2193A8363F}"/>
          </ac:spMkLst>
        </pc:spChg>
        <pc:spChg chg="add del mod modVis">
          <ac:chgData name="vonWaldow, Ulrich" userId="c64b3fe1-2fbf-4408-adc4-30add62e991f" providerId="ADAL" clId="{B99A90B8-7D29-4456-AFD4-0F3DBA13A596}" dt="2024-08-26T11:27:28.725" v="28434"/>
          <ac:spMkLst>
            <pc:docMk/>
            <pc:sldMk cId="2200607401" sldId="1658"/>
            <ac:spMk id="394" creationId="{C3E72DA1-BCD2-7E13-52E5-7F4A420FD5B8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4"/>
          <ac:spMkLst>
            <pc:docMk/>
            <pc:sldMk cId="2200607401" sldId="1658"/>
            <ac:spMk id="39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7:32.759" v="28526"/>
          <ac:spMkLst>
            <pc:docMk/>
            <pc:sldMk cId="2200607401" sldId="1658"/>
            <ac:spMk id="396" creationId="{1A9979F7-D267-8472-C977-1939F89404BA}"/>
          </ac:spMkLst>
        </pc:spChg>
        <pc:spChg chg="add del mod modVis">
          <ac:chgData name="vonWaldow, Ulrich" userId="c64b3fe1-2fbf-4408-adc4-30add62e991f" providerId="ADAL" clId="{B99A90B8-7D29-4456-AFD4-0F3DBA13A596}" dt="2024-08-26T11:27:39.376" v="28617"/>
          <ac:spMkLst>
            <pc:docMk/>
            <pc:sldMk cId="2200607401" sldId="1658"/>
            <ac:spMk id="397" creationId="{6736267B-2157-6AE2-AB2A-9E365BAF353A}"/>
          </ac:spMkLst>
        </pc:spChg>
        <pc:spChg chg="add del mod modVis">
          <ac:chgData name="vonWaldow, Ulrich" userId="c64b3fe1-2fbf-4408-adc4-30add62e991f" providerId="ADAL" clId="{B99A90B8-7D29-4456-AFD4-0F3DBA13A596}" dt="2024-08-26T11:27:42.355" v="28714"/>
          <ac:spMkLst>
            <pc:docMk/>
            <pc:sldMk cId="2200607401" sldId="1658"/>
            <ac:spMk id="398" creationId="{8E3B0EEA-6758-593E-16CD-FFE7EE8D6016}"/>
          </ac:spMkLst>
        </pc:spChg>
        <pc:spChg chg="add del mod modVis">
          <ac:chgData name="vonWaldow, Ulrich" userId="c64b3fe1-2fbf-4408-adc4-30add62e991f" providerId="ADAL" clId="{B99A90B8-7D29-4456-AFD4-0F3DBA13A596}" dt="2024-08-26T11:27:43.757" v="28803"/>
          <ac:spMkLst>
            <pc:docMk/>
            <pc:sldMk cId="2200607401" sldId="1658"/>
            <ac:spMk id="399" creationId="{32BA150A-9610-E964-06E2-59F49B55DEE1}"/>
          </ac:spMkLst>
        </pc:spChg>
        <pc:spChg chg="add del mod modVis">
          <ac:chgData name="vonWaldow, Ulrich" userId="c64b3fe1-2fbf-4408-adc4-30add62e991f" providerId="ADAL" clId="{B99A90B8-7D29-4456-AFD4-0F3DBA13A596}" dt="2024-08-26T11:27:45.345" v="28901"/>
          <ac:spMkLst>
            <pc:docMk/>
            <pc:sldMk cId="2200607401" sldId="1658"/>
            <ac:spMk id="400" creationId="{B6CC5D77-D3B8-745E-5F17-725085C0DE42}"/>
          </ac:spMkLst>
        </pc:spChg>
        <pc:spChg chg="add del mod modVis">
          <ac:chgData name="vonWaldow, Ulrich" userId="c64b3fe1-2fbf-4408-adc4-30add62e991f" providerId="ADAL" clId="{B99A90B8-7D29-4456-AFD4-0F3DBA13A596}" dt="2024-08-26T11:27:48.737" v="29001"/>
          <ac:spMkLst>
            <pc:docMk/>
            <pc:sldMk cId="2200607401" sldId="1658"/>
            <ac:spMk id="401" creationId="{EC56D828-65CF-60BC-6873-0B0B8DCEC11F}"/>
          </ac:spMkLst>
        </pc:spChg>
        <pc:spChg chg="add del mod modVis">
          <ac:chgData name="vonWaldow, Ulrich" userId="c64b3fe1-2fbf-4408-adc4-30add62e991f" providerId="ADAL" clId="{B99A90B8-7D29-4456-AFD4-0F3DBA13A596}" dt="2024-08-26T11:28:01.906" v="29269"/>
          <ac:spMkLst>
            <pc:docMk/>
            <pc:sldMk cId="2200607401" sldId="1658"/>
            <ac:spMk id="402" creationId="{71C8185F-5D9D-608A-E844-356F2D028A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6"/>
          <ac:spMkLst>
            <pc:docMk/>
            <pc:sldMk cId="2200607401" sldId="1658"/>
            <ac:spMk id="40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8:04.181" v="29362"/>
          <ac:spMkLst>
            <pc:docMk/>
            <pc:sldMk cId="2200607401" sldId="1658"/>
            <ac:spMk id="404" creationId="{B6EEA9D3-9CA0-11EC-541D-D1374ECB3761}"/>
          </ac:spMkLst>
        </pc:spChg>
        <pc:spChg chg="add del mod modVis">
          <ac:chgData name="vonWaldow, Ulrich" userId="c64b3fe1-2fbf-4408-adc4-30add62e991f" providerId="ADAL" clId="{B99A90B8-7D29-4456-AFD4-0F3DBA13A596}" dt="2024-08-26T11:28:05.548" v="29463"/>
          <ac:spMkLst>
            <pc:docMk/>
            <pc:sldMk cId="2200607401" sldId="1658"/>
            <ac:spMk id="405" creationId="{9888F0C4-BB46-4108-4B31-9807E209DF1D}"/>
          </ac:spMkLst>
        </pc:spChg>
        <pc:spChg chg="add del mod modVis">
          <ac:chgData name="vonWaldow, Ulrich" userId="c64b3fe1-2fbf-4408-adc4-30add62e991f" providerId="ADAL" clId="{B99A90B8-7D29-4456-AFD4-0F3DBA13A596}" dt="2024-08-26T11:28:10.972" v="29555"/>
          <ac:spMkLst>
            <pc:docMk/>
            <pc:sldMk cId="2200607401" sldId="1658"/>
            <ac:spMk id="406" creationId="{3B187740-4676-97FD-1508-4B01260811D7}"/>
          </ac:spMkLst>
        </pc:spChg>
        <pc:spChg chg="add del mod modVis">
          <ac:chgData name="vonWaldow, Ulrich" userId="c64b3fe1-2fbf-4408-adc4-30add62e991f" providerId="ADAL" clId="{B99A90B8-7D29-4456-AFD4-0F3DBA13A596}" dt="2024-08-26T11:28:12.605" v="29645"/>
          <ac:spMkLst>
            <pc:docMk/>
            <pc:sldMk cId="2200607401" sldId="1658"/>
            <ac:spMk id="407" creationId="{6C473735-E7DD-04DA-A722-76DF99A5DA93}"/>
          </ac:spMkLst>
        </pc:spChg>
        <pc:spChg chg="add mod ord">
          <ac:chgData name="vonWaldow, Ulrich" userId="c64b3fe1-2fbf-4408-adc4-30add62e991f" providerId="ADAL" clId="{B99A90B8-7D29-4456-AFD4-0F3DBA13A596}" dt="2024-08-26T11:29:06.009" v="30152"/>
          <ac:spMkLst>
            <pc:docMk/>
            <pc:sldMk cId="2200607401" sldId="1658"/>
            <ac:spMk id="408" creationId="{B4C4E77D-5FD2-A60F-0C1B-69997F2A08FA}"/>
          </ac:spMkLst>
        </pc:spChg>
        <pc:spChg chg="add del mod modVis">
          <ac:chgData name="vonWaldow, Ulrich" userId="c64b3fe1-2fbf-4408-adc4-30add62e991f" providerId="ADAL" clId="{B99A90B8-7D29-4456-AFD4-0F3DBA13A596}" dt="2024-08-26T11:29:06.009" v="30156"/>
          <ac:spMkLst>
            <pc:docMk/>
            <pc:sldMk cId="2200607401" sldId="1658"/>
            <ac:spMk id="409" creationId="{AFFD4F28-C4B3-4C5E-64D9-3E8D7A001753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29"/>
          <ac:spMkLst>
            <pc:docMk/>
            <pc:sldMk cId="2200607401" sldId="1658"/>
            <ac:spMk id="41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0"/>
          <ac:spMkLst>
            <pc:docMk/>
            <pc:sldMk cId="2200607401" sldId="1658"/>
            <ac:spMk id="41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1"/>
          <ac:spMkLst>
            <pc:docMk/>
            <pc:sldMk cId="2200607401" sldId="1658"/>
            <ac:spMk id="41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2"/>
          <ac:spMkLst>
            <pc:docMk/>
            <pc:sldMk cId="2200607401" sldId="1658"/>
            <ac:spMk id="41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96" v="31279"/>
          <ac:spMkLst>
            <pc:docMk/>
            <pc:sldMk cId="2200607401" sldId="1658"/>
            <ac:spMk id="41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9:08.932" v="30251"/>
          <ac:spMkLst>
            <pc:docMk/>
            <pc:sldMk cId="2200607401" sldId="1658"/>
            <ac:spMk id="415" creationId="{B72F2B9A-2998-FB51-D5DD-5C052165D913}"/>
          </ac:spMkLst>
        </pc:spChg>
        <pc:spChg chg="add del mod modVis">
          <ac:chgData name="vonWaldow, Ulrich" userId="c64b3fe1-2fbf-4408-adc4-30add62e991f" providerId="ADAL" clId="{B99A90B8-7D29-4456-AFD4-0F3DBA13A596}" dt="2024-08-26T11:29:10.205" v="30347"/>
          <ac:spMkLst>
            <pc:docMk/>
            <pc:sldMk cId="2200607401" sldId="1658"/>
            <ac:spMk id="416" creationId="{920471AA-E498-1DBC-655E-7A1C9B473924}"/>
          </ac:spMkLst>
        </pc:spChg>
        <pc:spChg chg="add del mod modVis">
          <ac:chgData name="vonWaldow, Ulrich" userId="c64b3fe1-2fbf-4408-adc4-30add62e991f" providerId="ADAL" clId="{B99A90B8-7D29-4456-AFD4-0F3DBA13A596}" dt="2024-08-26T11:29:13.035" v="30442"/>
          <ac:spMkLst>
            <pc:docMk/>
            <pc:sldMk cId="2200607401" sldId="1658"/>
            <ac:spMk id="417" creationId="{FBDBB598-15C7-B1F4-B507-E6B3D6C95318}"/>
          </ac:spMkLst>
        </pc:spChg>
        <pc:spChg chg="add del mod modVis">
          <ac:chgData name="vonWaldow, Ulrich" userId="c64b3fe1-2fbf-4408-adc4-30add62e991f" providerId="ADAL" clId="{B99A90B8-7D29-4456-AFD4-0F3DBA13A596}" dt="2024-08-26T11:29:13.584" v="30534"/>
          <ac:spMkLst>
            <pc:docMk/>
            <pc:sldMk cId="2200607401" sldId="1658"/>
            <ac:spMk id="418" creationId="{4E4A63ED-7DE2-311B-F8C6-CBBE4BFC35DF}"/>
          </ac:spMkLst>
        </pc:spChg>
        <pc:spChg chg="add del mod modVis">
          <ac:chgData name="vonWaldow, Ulrich" userId="c64b3fe1-2fbf-4408-adc4-30add62e991f" providerId="ADAL" clId="{B99A90B8-7D29-4456-AFD4-0F3DBA13A596}" dt="2024-08-26T11:29:14.541" v="30626"/>
          <ac:spMkLst>
            <pc:docMk/>
            <pc:sldMk cId="2200607401" sldId="1658"/>
            <ac:spMk id="419" creationId="{0B0AAEDF-C977-53BE-6DD2-9972C7CC8CE2}"/>
          </ac:spMkLst>
        </pc:spChg>
        <pc:spChg chg="add del mod modVis">
          <ac:chgData name="vonWaldow, Ulrich" userId="c64b3fe1-2fbf-4408-adc4-30add62e991f" providerId="ADAL" clId="{B99A90B8-7D29-4456-AFD4-0F3DBA13A596}" dt="2024-08-26T11:29:15.719" v="30718"/>
          <ac:spMkLst>
            <pc:docMk/>
            <pc:sldMk cId="2200607401" sldId="1658"/>
            <ac:spMk id="420" creationId="{EE4F6689-BC1C-5644-EA61-29B3709D769B}"/>
          </ac:spMkLst>
        </pc:spChg>
        <pc:spChg chg="add del mod modVis">
          <ac:chgData name="vonWaldow, Ulrich" userId="c64b3fe1-2fbf-4408-adc4-30add62e991f" providerId="ADAL" clId="{B99A90B8-7D29-4456-AFD4-0F3DBA13A596}" dt="2024-08-26T11:29:16.409" v="30813"/>
          <ac:spMkLst>
            <pc:docMk/>
            <pc:sldMk cId="2200607401" sldId="1658"/>
            <ac:spMk id="421" creationId="{BB251D98-AA44-1633-D179-8FFF2A7AEC05}"/>
          </ac:spMkLst>
        </pc:spChg>
        <pc:spChg chg="add del mod modVis">
          <ac:chgData name="vonWaldow, Ulrich" userId="c64b3fe1-2fbf-4408-adc4-30add62e991f" providerId="ADAL" clId="{B99A90B8-7D29-4456-AFD4-0F3DBA13A596}" dt="2024-08-26T11:29:17.556" v="30905"/>
          <ac:spMkLst>
            <pc:docMk/>
            <pc:sldMk cId="2200607401" sldId="1658"/>
            <ac:spMk id="422" creationId="{7D3B3D07-4E4A-923C-7B9A-29BAFE81E0FD}"/>
          </ac:spMkLst>
        </pc:spChg>
        <pc:spChg chg="add del mod modVis">
          <ac:chgData name="vonWaldow, Ulrich" userId="c64b3fe1-2fbf-4408-adc4-30add62e991f" providerId="ADAL" clId="{B99A90B8-7D29-4456-AFD4-0F3DBA13A596}" dt="2024-08-26T11:29:18.175" v="31000"/>
          <ac:spMkLst>
            <pc:docMk/>
            <pc:sldMk cId="2200607401" sldId="1658"/>
            <ac:spMk id="423" creationId="{8A449EBF-4AEB-D079-D158-CCDD25CDA36B}"/>
          </ac:spMkLst>
        </pc:spChg>
        <pc:spChg chg="add del mod modVis">
          <ac:chgData name="vonWaldow, Ulrich" userId="c64b3fe1-2fbf-4408-adc4-30add62e991f" providerId="ADAL" clId="{B99A90B8-7D29-4456-AFD4-0F3DBA13A596}" dt="2024-08-26T11:29:19.081" v="31092"/>
          <ac:spMkLst>
            <pc:docMk/>
            <pc:sldMk cId="2200607401" sldId="1658"/>
            <ac:spMk id="424" creationId="{B81864FD-A3E3-64B8-91B0-80A34914C0EB}"/>
          </ac:spMkLst>
        </pc:spChg>
        <pc:spChg chg="add del mod modVis">
          <ac:chgData name="vonWaldow, Ulrich" userId="c64b3fe1-2fbf-4408-adc4-30add62e991f" providerId="ADAL" clId="{B99A90B8-7D29-4456-AFD4-0F3DBA13A596}" dt="2024-08-26T11:29:19.694" v="31187"/>
          <ac:spMkLst>
            <pc:docMk/>
            <pc:sldMk cId="2200607401" sldId="1658"/>
            <ac:spMk id="425" creationId="{E3A5927B-73C1-95C6-768A-4BD84252495F}"/>
          </ac:spMkLst>
        </pc:spChg>
        <pc:spChg chg="add del mod modVis">
          <ac:chgData name="vonWaldow, Ulrich" userId="c64b3fe1-2fbf-4408-adc4-30add62e991f" providerId="ADAL" clId="{B99A90B8-7D29-4456-AFD4-0F3DBA13A596}" dt="2024-08-26T11:29:20.402" v="31283"/>
          <ac:spMkLst>
            <pc:docMk/>
            <pc:sldMk cId="2200607401" sldId="1658"/>
            <ac:spMk id="426" creationId="{2E94E726-ED05-3659-2AAC-729848841067}"/>
          </ac:spMkLst>
        </pc:spChg>
        <pc:grpChg chg="add del mod">
          <ac:chgData name="vonWaldow, Ulrich" userId="c64b3fe1-2fbf-4408-adc4-30add62e991f" providerId="ADAL" clId="{B99A90B8-7D29-4456-AFD4-0F3DBA13A596}" dt="2024-08-26T11:18:28.055" v="10014" actId="165"/>
          <ac:grpSpMkLst>
            <pc:docMk/>
            <pc:sldMk cId="2200607401" sldId="1658"/>
            <ac:grpSpMk id="78" creationId="{85008EA0-4108-4EBE-8129-2508307A2158}"/>
          </ac:grpSpMkLst>
        </pc:grpChg>
        <pc:grpChg chg="add del mod">
          <ac:chgData name="vonWaldow, Ulrich" userId="c64b3fe1-2fbf-4408-adc4-30add62e991f" providerId="ADAL" clId="{B99A90B8-7D29-4456-AFD4-0F3DBA13A596}" dt="2024-08-26T11:25:16.304" v="22170" actId="478"/>
          <ac:grpSpMkLst>
            <pc:docMk/>
            <pc:sldMk cId="2200607401" sldId="1658"/>
            <ac:grpSpMk id="237" creationId="{3AD8F0FD-4333-A5B6-217E-36D85BA322C9}"/>
          </ac:grpSpMkLst>
        </pc:grpChg>
        <pc:grpChg chg="add del mod">
          <ac:chgData name="vonWaldow, Ulrich" userId="c64b3fe1-2fbf-4408-adc4-30add62e991f" providerId="ADAL" clId="{B99A90B8-7D29-4456-AFD4-0F3DBA13A596}" dt="2024-08-26T11:33:17.839" v="31517" actId="478"/>
          <ac:grpSpMkLst>
            <pc:docMk/>
            <pc:sldMk cId="2200607401" sldId="1658"/>
            <ac:grpSpMk id="239" creationId="{A99DA3E8-2CB8-D8AE-5C33-5903C500ECD3}"/>
          </ac:grpSpMkLst>
        </pc:grpChg>
        <pc:grpChg chg="add del mod">
          <ac:chgData name="vonWaldow, Ulrich" userId="c64b3fe1-2fbf-4408-adc4-30add62e991f" providerId="ADAL" clId="{B99A90B8-7D29-4456-AFD4-0F3DBA13A596}" dt="2024-08-26T11:29:46.314" v="31290" actId="165"/>
          <ac:grpSpMkLst>
            <pc:docMk/>
            <pc:sldMk cId="2200607401" sldId="1658"/>
            <ac:grpSpMk id="427" creationId="{E8E23128-2BD2-15B4-DB98-F27D69BEE284}"/>
          </ac:grpSpMkLst>
        </pc:grpChg>
        <pc:grpChg chg="add del mod">
          <ac:chgData name="vonWaldow, Ulrich" userId="c64b3fe1-2fbf-4408-adc4-30add62e991f" providerId="ADAL" clId="{B99A90B8-7D29-4456-AFD4-0F3DBA13A596}" dt="2024-08-26T11:29:50.248" v="31293" actId="165"/>
          <ac:grpSpMkLst>
            <pc:docMk/>
            <pc:sldMk cId="2200607401" sldId="1658"/>
            <ac:grpSpMk id="428" creationId="{7EE929DC-F688-1740-97FF-C25A361AB0C8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29:20.402" v="31285"/>
          <ac:graphicFrameMkLst>
            <pc:docMk/>
            <pc:sldMk cId="2200607401" sldId="1658"/>
            <ac:graphicFrameMk id="4" creationId="{1FC6BD45-D559-240E-5B79-3598F9C8B9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17.028" v="10386"/>
          <ac:graphicFrameMkLst>
            <pc:docMk/>
            <pc:sldMk cId="2200607401" sldId="1658"/>
            <ac:graphicFrameMk id="85" creationId="{AD3A5BC9-1A4B-26C3-7828-274B211289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30.507" v="10503"/>
          <ac:graphicFrameMkLst>
            <pc:docMk/>
            <pc:sldMk cId="2200607401" sldId="1658"/>
            <ac:graphicFrameMk id="87" creationId="{0DEF7AAA-9CA2-7834-3EFE-7EB71DD3F4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31.202" v="10630"/>
          <ac:graphicFrameMkLst>
            <pc:docMk/>
            <pc:sldMk cId="2200607401" sldId="1658"/>
            <ac:graphicFrameMk id="89" creationId="{56035A24-B9C6-7EAB-CDBB-C8F86D076CE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49.333" v="10753"/>
          <ac:graphicFrameMkLst>
            <pc:docMk/>
            <pc:sldMk cId="2200607401" sldId="1658"/>
            <ac:graphicFrameMk id="91" creationId="{5E04331E-974C-04B8-8A74-0A0CDDFE1E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01.246" v="10877"/>
          <ac:graphicFrameMkLst>
            <pc:docMk/>
            <pc:sldMk cId="2200607401" sldId="1658"/>
            <ac:graphicFrameMk id="95" creationId="{5BE1B365-031F-2432-A6E4-EFE818A8BE6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13.860" v="11048"/>
          <ac:graphicFrameMkLst>
            <pc:docMk/>
            <pc:sldMk cId="2200607401" sldId="1658"/>
            <ac:graphicFrameMk id="97" creationId="{A5D31A45-CEB1-13CD-52DB-9D3FFAB1A4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15.291" v="11230"/>
          <ac:graphicFrameMkLst>
            <pc:docMk/>
            <pc:sldMk cId="2200607401" sldId="1658"/>
            <ac:graphicFrameMk id="101" creationId="{E1674DDB-F5B8-A0F2-91F5-4B4CC4EDBBB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1.200" v="11364"/>
          <ac:graphicFrameMkLst>
            <pc:docMk/>
            <pc:sldMk cId="2200607401" sldId="1658"/>
            <ac:graphicFrameMk id="105" creationId="{BA8041D3-289C-491C-48AD-DD6FC67C031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2.283" v="11498"/>
          <ac:graphicFrameMkLst>
            <pc:docMk/>
            <pc:sldMk cId="2200607401" sldId="1658"/>
            <ac:graphicFrameMk id="107" creationId="{D47248AA-CA64-F339-A662-D4C06B0375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3.635" v="11632"/>
          <ac:graphicFrameMkLst>
            <pc:docMk/>
            <pc:sldMk cId="2200607401" sldId="1658"/>
            <ac:graphicFrameMk id="109" creationId="{A6C0E069-D701-CA7A-F351-87B634D5C8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4.625" v="11766"/>
          <ac:graphicFrameMkLst>
            <pc:docMk/>
            <pc:sldMk cId="2200607401" sldId="1658"/>
            <ac:graphicFrameMk id="111" creationId="{7CA51078-F581-7691-A3DF-2183F7F54D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9.938" v="11902"/>
          <ac:graphicFrameMkLst>
            <pc:docMk/>
            <pc:sldMk cId="2200607401" sldId="1658"/>
            <ac:graphicFrameMk id="113" creationId="{764D781F-D2D9-BE3D-E2AC-84DD588458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32.279" v="12061"/>
          <ac:graphicFrameMkLst>
            <pc:docMk/>
            <pc:sldMk cId="2200607401" sldId="1658"/>
            <ac:graphicFrameMk id="115" creationId="{45868D9B-ECDC-7E0B-E7C8-825C0FFD40F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35.217" v="12218"/>
          <ac:graphicFrameMkLst>
            <pc:docMk/>
            <pc:sldMk cId="2200607401" sldId="1658"/>
            <ac:graphicFrameMk id="116" creationId="{D29B605D-DEBD-17B2-9855-78F5CFB127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5:22.357" v="22323"/>
          <ac:graphicFrameMkLst>
            <pc:docMk/>
            <pc:sldMk cId="2200607401" sldId="1658"/>
            <ac:graphicFrameMk id="117" creationId="{35D58521-19CE-066F-B851-E21D25D3122A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6T11:21:44.975" v="12439"/>
          <ac:graphicFrameMkLst>
            <pc:docMk/>
            <pc:sldMk cId="2200607401" sldId="1658"/>
            <ac:graphicFrameMk id="118" creationId="{B1AE5688-AE0F-1866-8488-D6C98423D43C}"/>
          </ac:graphicFrameMkLst>
        </pc:graphicFrameChg>
        <pc:cxnChg chg="add del mod ord replST">
          <ac:chgData name="vonWaldow, Ulrich" userId="c64b3fe1-2fbf-4408-adc4-30add62e991f" providerId="ADAL" clId="{B99A90B8-7D29-4456-AFD4-0F3DBA13A596}" dt="2024-08-26T11:25:22.357" v="22319"/>
          <ac:cxnSpMkLst>
            <pc:docMk/>
            <pc:sldMk cId="2200607401" sldId="1658"/>
            <ac:cxnSpMk id="83" creationId="{4504BF49-EA01-4352-0984-36A8360D794A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6"/>
          <ac:cxnSpMkLst>
            <pc:docMk/>
            <pc:sldMk cId="2200607401" sldId="1658"/>
            <ac:cxnSpMk id="84" creationId="{99025A04-A981-8A1E-4393-443B76E29A69}"/>
          </ac:cxnSpMkLst>
        </pc:cxnChg>
        <pc:cxnChg chg="add mod ord">
          <ac:chgData name="vonWaldow, Ulrich" userId="c64b3fe1-2fbf-4408-adc4-30add62e991f" providerId="ADAL" clId="{B99A90B8-7D29-4456-AFD4-0F3DBA13A596}" dt="2024-08-26T11:25:05.996" v="22166" actId="164"/>
          <ac:cxnSpMkLst>
            <pc:docMk/>
            <pc:sldMk cId="2200607401" sldId="1658"/>
            <ac:cxnSpMk id="93" creationId="{4647C275-03C2-82FF-B1C5-64D4B44B94AD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3"/>
          <ac:cxnSpMkLst>
            <pc:docMk/>
            <pc:sldMk cId="2200607401" sldId="1658"/>
            <ac:cxnSpMk id="100" creationId="{796FA242-AE16-5F9F-B388-76BFCBC4945E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0"/>
          <ac:cxnSpMkLst>
            <pc:docMk/>
            <pc:sldMk cId="2200607401" sldId="1658"/>
            <ac:cxnSpMk id="104" creationId="{16B05CF3-118E-A981-ABC6-2C2973579C3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3"/>
          <ac:cxnSpMkLst>
            <pc:docMk/>
            <pc:sldMk cId="2200607401" sldId="1658"/>
            <ac:cxnSpMk id="138" creationId="{A9F92A36-4441-F458-334B-47BA697A3E37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31.138" v="16263"/>
          <ac:cxnSpMkLst>
            <pc:docMk/>
            <pc:sldMk cId="2200607401" sldId="1658"/>
            <ac:cxnSpMk id="154" creationId="{4528DA1E-1DC1-5223-0EBC-FC9E52658BAD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31.043" v="16182"/>
          <ac:cxnSpMkLst>
            <pc:docMk/>
            <pc:sldMk cId="2200607401" sldId="1658"/>
            <ac:cxnSpMk id="172" creationId="{CCA3B9D2-0F48-0410-EEC8-BE7B44D65FAA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52.433" v="18580"/>
          <ac:cxnSpMkLst>
            <pc:docMk/>
            <pc:sldMk cId="2200607401" sldId="1658"/>
            <ac:cxnSpMk id="173" creationId="{56097A7F-6161-3748-320D-E7AF19C2D8EB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52.433" v="18578"/>
          <ac:cxnSpMkLst>
            <pc:docMk/>
            <pc:sldMk cId="2200607401" sldId="1658"/>
            <ac:cxnSpMk id="174" creationId="{4A128BB9-54AC-59F1-C994-6F11FBBEBD07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57"/>
          <ac:cxnSpMkLst>
            <pc:docMk/>
            <pc:sldMk cId="2200607401" sldId="1658"/>
            <ac:cxnSpMk id="185" creationId="{604CCD2A-7532-25CD-8E80-5C1990F4987D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10.035" v="20241"/>
          <ac:cxnSpMkLst>
            <pc:docMk/>
            <pc:sldMk cId="2200607401" sldId="1658"/>
            <ac:cxnSpMk id="190" creationId="{05875D0C-B93E-1E25-95AF-7E27F01CB3D6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9"/>
          <ac:cxnSpMkLst>
            <pc:docMk/>
            <pc:sldMk cId="2200607401" sldId="1658"/>
            <ac:cxnSpMk id="193" creationId="{C81DF5A0-04BF-9CA9-3DDE-DD1F62AFC0F0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7"/>
          <ac:cxnSpMkLst>
            <pc:docMk/>
            <pc:sldMk cId="2200607401" sldId="1658"/>
            <ac:cxnSpMk id="194" creationId="{CEF11111-52C6-D03F-A9F7-80F9910C221D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70"/>
          <ac:cxnSpMkLst>
            <pc:docMk/>
            <pc:sldMk cId="2200607401" sldId="1658"/>
            <ac:cxnSpMk id="199" creationId="{C83CA469-3BD2-2DE6-ECC8-BCA5BEF59289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4"/>
          <ac:cxnSpMkLst>
            <pc:docMk/>
            <pc:sldMk cId="2200607401" sldId="1658"/>
            <ac:cxnSpMk id="200" creationId="{5001CC79-A0D7-9140-2247-6DD2D95C027B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2"/>
          <ac:cxnSpMkLst>
            <pc:docMk/>
            <pc:sldMk cId="2200607401" sldId="1658"/>
            <ac:cxnSpMk id="201" creationId="{87EA22A0-AAF7-B459-83D5-F521DA71FFE1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2"/>
          <ac:cxnSpMkLst>
            <pc:docMk/>
            <pc:sldMk cId="2200607401" sldId="1658"/>
            <ac:cxnSpMk id="207" creationId="{2FCF853E-3EE0-E5ED-F708-748927CBA6C3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0"/>
          <ac:cxnSpMkLst>
            <pc:docMk/>
            <pc:sldMk cId="2200607401" sldId="1658"/>
            <ac:cxnSpMk id="208" creationId="{0B1F47D6-438D-3DD9-EE00-F2E6A60D90E1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73"/>
          <ac:cxnSpMkLst>
            <pc:docMk/>
            <pc:sldMk cId="2200607401" sldId="1658"/>
            <ac:cxnSpMk id="210" creationId="{60E7442A-5BF5-94C3-CF97-D5CF45B3B1AA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54"/>
          <ac:cxnSpMkLst>
            <pc:docMk/>
            <pc:sldMk cId="2200607401" sldId="1658"/>
            <ac:cxnSpMk id="211" creationId="{D8EA9490-8243-053D-EDBD-215E7064E9F0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52"/>
          <ac:cxnSpMkLst>
            <pc:docMk/>
            <pc:sldMk cId="2200607401" sldId="1658"/>
            <ac:cxnSpMk id="212" creationId="{ECA65C76-0B36-FFCD-6D07-C2BE93B65FC3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7"/>
          <ac:cxnSpMkLst>
            <pc:docMk/>
            <pc:sldMk cId="2200607401" sldId="1658"/>
            <ac:cxnSpMk id="221" creationId="{6F196D40-820D-3A27-C9DB-0570827608CB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5"/>
          <ac:cxnSpMkLst>
            <pc:docMk/>
            <pc:sldMk cId="2200607401" sldId="1658"/>
            <ac:cxnSpMk id="222" creationId="{F31600F5-52B1-A573-91D2-17AAC1ECF13C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39"/>
          <ac:cxnSpMkLst>
            <pc:docMk/>
            <pc:sldMk cId="2200607401" sldId="1658"/>
            <ac:cxnSpMk id="228" creationId="{FED12047-1078-C51E-2F12-5D9B7A85D146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37"/>
          <ac:cxnSpMkLst>
            <pc:docMk/>
            <pc:sldMk cId="2200607401" sldId="1658"/>
            <ac:cxnSpMk id="229" creationId="{140C005D-B980-41ED-8C9A-2D4185BB126F}"/>
          </ac:cxnSpMkLst>
        </pc:cxnChg>
        <pc:cxnChg chg="mod">
          <ac:chgData name="vonWaldow, Ulrich" userId="c64b3fe1-2fbf-4408-adc4-30add62e991f" providerId="ADAL" clId="{B99A90B8-7D29-4456-AFD4-0F3DBA13A596}" dt="2024-08-26T11:25:12.356" v="22169" actId="571"/>
          <ac:cxnSpMkLst>
            <pc:docMk/>
            <pc:sldMk cId="2200607401" sldId="1658"/>
            <ac:cxnSpMk id="297" creationId="{0CB6024C-1E08-F935-C91A-98FF357645C8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285" v="23590"/>
          <ac:cxnSpMkLst>
            <pc:docMk/>
            <pc:sldMk cId="2200607401" sldId="1658"/>
            <ac:cxnSpMk id="305" creationId="{F0B95CDC-ACD3-6BD8-C2B6-00EC7D1A3757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285" v="23593"/>
          <ac:cxnSpMkLst>
            <pc:docMk/>
            <pc:sldMk cId="2200607401" sldId="1658"/>
            <ac:cxnSpMk id="306" creationId="{5CAADA2C-0089-10AE-F321-0BB18C3146C7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301" v="23596"/>
          <ac:cxnSpMkLst>
            <pc:docMk/>
            <pc:sldMk cId="2200607401" sldId="1658"/>
            <ac:cxnSpMk id="307" creationId="{456E05D7-3DDD-FCBB-6C45-94A893C9E423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301" v="23599"/>
          <ac:cxnSpMkLst>
            <pc:docMk/>
            <pc:sldMk cId="2200607401" sldId="1658"/>
            <ac:cxnSpMk id="308" creationId="{2173C146-1959-F9BE-12C3-FCF778E7F1EC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5" creationId="{93795249-BE44-D716-EDAA-FA9FEE11C159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6" creationId="{3C41CA32-1B0A-A8FB-712F-0CA64F8640FF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7" creationId="{B0831E0C-23C7-9E7C-B349-CAD0BEA888A8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8" creationId="{E9F6220A-C488-5BD3-DF4A-CC24CD8EDE36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9" creationId="{C4F029A6-18E0-F5FB-7923-B76843C89460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20" creationId="{3AD76820-43B5-D3ED-4A4F-C541E97B2268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5"/>
          <ac:cxnSpMkLst>
            <pc:docMk/>
            <pc:sldMk cId="2200607401" sldId="1658"/>
            <ac:cxnSpMk id="322" creationId="{B6D896FC-2258-2073-F81E-5815EC8FAFA5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7"/>
          <ac:cxnSpMkLst>
            <pc:docMk/>
            <pc:sldMk cId="2200607401" sldId="1658"/>
            <ac:cxnSpMk id="323" creationId="{591FDDB1-977A-037F-73E9-976B0672C34A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9"/>
          <ac:cxnSpMkLst>
            <pc:docMk/>
            <pc:sldMk cId="2200607401" sldId="1658"/>
            <ac:cxnSpMk id="324" creationId="{C36AFFFE-24AA-FF25-A1D8-2A2DC26DFDF5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1"/>
          <ac:cxnSpMkLst>
            <pc:docMk/>
            <pc:sldMk cId="2200607401" sldId="1658"/>
            <ac:cxnSpMk id="325" creationId="{FBC68EF6-5D0A-E4FE-319D-E5D739421A7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3"/>
          <ac:cxnSpMkLst>
            <pc:docMk/>
            <pc:sldMk cId="2200607401" sldId="1658"/>
            <ac:cxnSpMk id="326" creationId="{47425B9B-9475-1924-E81B-15CDA79A3E3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5"/>
          <ac:cxnSpMkLst>
            <pc:docMk/>
            <pc:sldMk cId="2200607401" sldId="1658"/>
            <ac:cxnSpMk id="327" creationId="{0AA60842-E45C-251D-7CE9-A70F97EC9F2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1"/>
          <ac:cxnSpMkLst>
            <pc:docMk/>
            <pc:sldMk cId="2200607401" sldId="1658"/>
            <ac:cxnSpMk id="342" creationId="{498F4DF4-442F-98DC-09B0-43780E05A21A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3"/>
          <ac:cxnSpMkLst>
            <pc:docMk/>
            <pc:sldMk cId="2200607401" sldId="1658"/>
            <ac:cxnSpMk id="343" creationId="{B12E9EA4-E9D6-F0B5-93D0-EF5C28CCDFA3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5"/>
          <ac:cxnSpMkLst>
            <pc:docMk/>
            <pc:sldMk cId="2200607401" sldId="1658"/>
            <ac:cxnSpMk id="344" creationId="{E5C90A7D-5EAA-2094-1D6B-6C081E1EA98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7"/>
          <ac:cxnSpMkLst>
            <pc:docMk/>
            <pc:sldMk cId="2200607401" sldId="1658"/>
            <ac:cxnSpMk id="345" creationId="{E14C448B-A471-7ED9-84E6-5305551D0C4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9"/>
          <ac:cxnSpMkLst>
            <pc:docMk/>
            <pc:sldMk cId="2200607401" sldId="1658"/>
            <ac:cxnSpMk id="346" creationId="{D19A3F37-C517-A97B-EC8B-426A4217854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3"/>
          <ac:cxnSpMkLst>
            <pc:docMk/>
            <pc:sldMk cId="2200607401" sldId="1658"/>
            <ac:cxnSpMk id="347" creationId="{4731AB13-8AD5-F905-F9D6-B1218C8E6269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3"/>
          <ac:cxnSpMkLst>
            <pc:docMk/>
            <pc:sldMk cId="2200607401" sldId="1658"/>
            <ac:cxnSpMk id="348" creationId="{A8F79453-CD0C-769D-B6AB-3DD9D6AB93C4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5"/>
          <ac:cxnSpMkLst>
            <pc:docMk/>
            <pc:sldMk cId="2200607401" sldId="1658"/>
            <ac:cxnSpMk id="355" creationId="{CFA2195E-E931-6E2C-173A-9AEB78ACD0F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7"/>
          <ac:cxnSpMkLst>
            <pc:docMk/>
            <pc:sldMk cId="2200607401" sldId="1658"/>
            <ac:cxnSpMk id="356" creationId="{A455FFE7-7C60-EEE1-9762-38931E544AD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1"/>
          <ac:cxnSpMkLst>
            <pc:docMk/>
            <pc:sldMk cId="2200607401" sldId="1658"/>
            <ac:cxnSpMk id="357" creationId="{299CB998-F8CD-42C2-C8B3-5C37959EF3B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9"/>
          <ac:cxnSpMkLst>
            <pc:docMk/>
            <pc:sldMk cId="2200607401" sldId="1658"/>
            <ac:cxnSpMk id="358" creationId="{72D94F71-4A5C-4E5F-A669-A80A3CD57C18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1"/>
          <ac:cxnSpMkLst>
            <pc:docMk/>
            <pc:sldMk cId="2200607401" sldId="1658"/>
            <ac:cxnSpMk id="359" creationId="{3401FCA8-7CFD-EABC-ED26-81F8867937BB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3"/>
          <ac:cxnSpMkLst>
            <pc:docMk/>
            <pc:sldMk cId="2200607401" sldId="1658"/>
            <ac:cxnSpMk id="372" creationId="{E2C3B6EF-3DBA-12CB-6474-407263586DB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5"/>
          <ac:cxnSpMkLst>
            <pc:docMk/>
            <pc:sldMk cId="2200607401" sldId="1658"/>
            <ac:cxnSpMk id="373" creationId="{37BBFC50-D2F1-982B-D1CC-D20235B5864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7"/>
          <ac:cxnSpMkLst>
            <pc:docMk/>
            <pc:sldMk cId="2200607401" sldId="1658"/>
            <ac:cxnSpMk id="374" creationId="{7EA719C3-6619-4496-15AB-534168F957E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9"/>
          <ac:cxnSpMkLst>
            <pc:docMk/>
            <pc:sldMk cId="2200607401" sldId="1658"/>
            <ac:cxnSpMk id="375" creationId="{E93FE5FE-0C63-CBC2-E536-D3920B4A7713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7"/>
          <ac:cxnSpMkLst>
            <pc:docMk/>
            <pc:sldMk cId="2200607401" sldId="1658"/>
            <ac:cxnSpMk id="376" creationId="{2DAB0A7C-FA29-0707-BE2F-A3620A400802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9"/>
          <ac:cxnSpMkLst>
            <pc:docMk/>
            <pc:sldMk cId="2200607401" sldId="1658"/>
            <ac:cxnSpMk id="377" creationId="{D6D75C51-F578-41EB-5889-722A0E295C5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1"/>
          <ac:cxnSpMkLst>
            <pc:docMk/>
            <pc:sldMk cId="2200607401" sldId="1658"/>
            <ac:cxnSpMk id="378" creationId="{A9E9EB81-BD34-FF7C-CF47-DAD0DB39F3A9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3"/>
          <ac:cxnSpMkLst>
            <pc:docMk/>
            <pc:sldMk cId="2200607401" sldId="1658"/>
            <ac:cxnSpMk id="379" creationId="{984A6E1D-A1B7-ADF8-B390-CB8C004DFB2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5"/>
          <ac:cxnSpMkLst>
            <pc:docMk/>
            <pc:sldMk cId="2200607401" sldId="1658"/>
            <ac:cxnSpMk id="380" creationId="{4B820393-EFD2-A1A9-BCB4-1EBB15E3D40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7"/>
          <ac:cxnSpMkLst>
            <pc:docMk/>
            <pc:sldMk cId="2200607401" sldId="1658"/>
            <ac:cxnSpMk id="381" creationId="{47BF89FF-3F29-0741-F910-A48EB0311B9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9"/>
          <ac:cxnSpMkLst>
            <pc:docMk/>
            <pc:sldMk cId="2200607401" sldId="1658"/>
            <ac:cxnSpMk id="388" creationId="{3992DF0E-7FB9-46A6-12A1-366CDFB815B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1"/>
          <ac:cxnSpMkLst>
            <pc:docMk/>
            <pc:sldMk cId="2200607401" sldId="1658"/>
            <ac:cxnSpMk id="389" creationId="{657AAE4E-6AEB-4A70-FB9F-2C8E25AF665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5"/>
          <ac:cxnSpMkLst>
            <pc:docMk/>
            <pc:sldMk cId="2200607401" sldId="1658"/>
            <ac:cxnSpMk id="390" creationId="{54EFBCEC-BBCF-B834-274D-DECE11557E3B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7"/>
          <ac:cxnSpMkLst>
            <pc:docMk/>
            <pc:sldMk cId="2200607401" sldId="1658"/>
            <ac:cxnSpMk id="391" creationId="{40E8D1D0-943F-F8E1-A7F9-7AB96ACCD69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9"/>
          <ac:cxnSpMkLst>
            <pc:docMk/>
            <pc:sldMk cId="2200607401" sldId="1658"/>
            <ac:cxnSpMk id="392" creationId="{E9492572-85C5-610C-D45F-D2A0FD958EFB}"/>
          </ac:cxnSpMkLst>
        </pc:cxnChg>
      </pc:sldChg>
      <pc:sldChg chg="addSp delSp modSp new mod ord modClrScheme chgLayout">
        <pc:chgData name="vonWaldow, Ulrich" userId="c64b3fe1-2fbf-4408-adc4-30add62e991f" providerId="ADAL" clId="{B99A90B8-7D29-4456-AFD4-0F3DBA13A596}" dt="2024-09-03T12:07:13.147" v="111248"/>
        <pc:sldMkLst>
          <pc:docMk/>
          <pc:sldMk cId="2096985019" sldId="1659"/>
        </pc:sldMkLst>
        <pc:spChg chg="mod ord">
          <ac:chgData name="vonWaldow, Ulrich" userId="c64b3fe1-2fbf-4408-adc4-30add62e991f" providerId="ADAL" clId="{B99A90B8-7D29-4456-AFD4-0F3DBA13A596}" dt="2024-08-26T10:44:39.233" v="1690" actId="948"/>
          <ac:spMkLst>
            <pc:docMk/>
            <pc:sldMk cId="2096985019" sldId="1659"/>
            <ac:spMk id="2" creationId="{71AD43D6-FE6E-5B56-A60C-0DD53C1D3B52}"/>
          </ac:spMkLst>
        </pc:spChg>
        <pc:spChg chg="add del mod modVis">
          <ac:chgData name="vonWaldow, Ulrich" userId="c64b3fe1-2fbf-4408-adc4-30add62e991f" providerId="ADAL" clId="{B99A90B8-7D29-4456-AFD4-0F3DBA13A596}" dt="2024-08-26T10:44:20.776" v="1592"/>
          <ac:spMkLst>
            <pc:docMk/>
            <pc:sldMk cId="2096985019" sldId="1659"/>
            <ac:spMk id="3" creationId="{43F0D413-7479-6921-3AAF-45907808AED0}"/>
          </ac:spMkLst>
        </pc:spChg>
        <pc:spChg chg="add del mod modVis">
          <ac:chgData name="vonWaldow, Ulrich" userId="c64b3fe1-2fbf-4408-adc4-30add62e991f" providerId="ADAL" clId="{B99A90B8-7D29-4456-AFD4-0F3DBA13A596}" dt="2024-08-26T10:44:24.362" v="1657"/>
          <ac:spMkLst>
            <pc:docMk/>
            <pc:sldMk cId="2096985019" sldId="1659"/>
            <ac:spMk id="5" creationId="{FF73EBF4-42FC-C619-7DDC-56B33D488A02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2096985019" sldId="1659"/>
            <ac:spMk id="6" creationId="{AAA9A3C6-56E9-9373-C7CC-85A72D78EF11}"/>
          </ac:spMkLst>
        </pc:spChg>
        <pc:spChg chg="add del mod modVis">
          <ac:chgData name="vonWaldow, Ulrich" userId="c64b3fe1-2fbf-4408-adc4-30add62e991f" providerId="ADAL" clId="{B99A90B8-7D29-4456-AFD4-0F3DBA13A596}" dt="2024-08-26T10:44:31.352" v="1682"/>
          <ac:spMkLst>
            <pc:docMk/>
            <pc:sldMk cId="2096985019" sldId="1659"/>
            <ac:spMk id="7" creationId="{42F8C196-CB9C-B1D4-B435-D25A47003C62}"/>
          </ac:spMkLst>
        </pc:spChg>
        <pc:spChg chg="add del mod modVis">
          <ac:chgData name="vonWaldow, Ulrich" userId="c64b3fe1-2fbf-4408-adc4-30add62e991f" providerId="ADAL" clId="{B99A90B8-7D29-4456-AFD4-0F3DBA13A596}" dt="2024-08-26T10:44:39.248" v="1711"/>
          <ac:spMkLst>
            <pc:docMk/>
            <pc:sldMk cId="2096985019" sldId="1659"/>
            <ac:spMk id="8" creationId="{F04574AE-1AB2-D932-761B-430085DDC741}"/>
          </ac:spMkLst>
        </pc:spChg>
        <pc:spChg chg="add 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096985019" sldId="1659"/>
            <ac:spMk id="9" creationId="{57A866B2-5AEC-BEE3-EB49-2293B7B631E1}"/>
          </ac:spMkLst>
        </pc:spChg>
        <pc:spChg chg="add mod">
          <ac:chgData name="vonWaldow, Ulrich" userId="c64b3fe1-2fbf-4408-adc4-30add62e991f" providerId="ADAL" clId="{B99A90B8-7D29-4456-AFD4-0F3DBA13A596}" dt="2024-08-26T10:45:12.066" v="1728"/>
          <ac:spMkLst>
            <pc:docMk/>
            <pc:sldMk cId="2096985019" sldId="1659"/>
            <ac:spMk id="10" creationId="{9F8B25E7-1981-6B51-1BDF-A974239F8722}"/>
          </ac:spMkLst>
        </pc:spChg>
        <pc:spChg chg="add del mod">
          <ac:chgData name="vonWaldow, Ulrich" userId="c64b3fe1-2fbf-4408-adc4-30add62e991f" providerId="ADAL" clId="{B99A90B8-7D29-4456-AFD4-0F3DBA13A596}" dt="2024-08-26T10:45:07.167" v="1725" actId="478"/>
          <ac:spMkLst>
            <pc:docMk/>
            <pc:sldMk cId="2096985019" sldId="1659"/>
            <ac:spMk id="11" creationId="{88BC800F-0644-6F2D-A7BC-A08844DF1BA4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2" creationId="{A704126B-C788-757C-9C05-3E9FC85CC752}"/>
          </ac:spMkLst>
        </pc:spChg>
        <pc:spChg chg="add mod">
          <ac:chgData name="vonWaldow, Ulrich" userId="c64b3fe1-2fbf-4408-adc4-30add62e991f" providerId="ADAL" clId="{B99A90B8-7D29-4456-AFD4-0F3DBA13A596}" dt="2024-08-26T10:45:01.046" v="1723" actId="207"/>
          <ac:spMkLst>
            <pc:docMk/>
            <pc:sldMk cId="2096985019" sldId="1659"/>
            <ac:spMk id="13" creationId="{1FC813D2-C1EB-4F18-B55C-C40252DD20B2}"/>
          </ac:spMkLst>
        </pc:spChg>
        <pc:spChg chg="add del mod">
          <ac:chgData name="vonWaldow, Ulrich" userId="c64b3fe1-2fbf-4408-adc4-30add62e991f" providerId="ADAL" clId="{B99A90B8-7D29-4456-AFD4-0F3DBA13A596}" dt="2024-08-26T10:44:49.385" v="1715" actId="478"/>
          <ac:spMkLst>
            <pc:docMk/>
            <pc:sldMk cId="2096985019" sldId="1659"/>
            <ac:spMk id="14" creationId="{E7FAB6A8-0E15-0318-98C8-99A3E5886C55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5" creationId="{4C0D7CF5-EC86-3994-D2A9-73C98BBE316A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6" creationId="{BD59C121-0E40-2956-D40F-E5E314879815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7" creationId="{85A20ED5-B41B-A2EE-0424-5AE870FE3C4A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6T10:44:39.262" v="1713"/>
          <ac:graphicFrameMkLst>
            <pc:docMk/>
            <pc:sldMk cId="2096985019" sldId="1659"/>
            <ac:graphicFrameMk id="4" creationId="{334C6FD7-7C7B-62E9-B34A-A9355AFD4E09}"/>
          </ac:graphicFrameMkLst>
        </pc:graphicFrameChg>
      </pc:sldChg>
      <pc:sldChg chg="addSp delSp modSp new mod ord">
        <pc:chgData name="vonWaldow, Ulrich" userId="c64b3fe1-2fbf-4408-adc4-30add62e991f" providerId="ADAL" clId="{B99A90B8-7D29-4456-AFD4-0F3DBA13A596}" dt="2024-09-03T12:07:13.147" v="111248"/>
        <pc:sldMkLst>
          <pc:docMk/>
          <pc:sldMk cId="3074654135" sldId="1660"/>
        </pc:sldMkLst>
        <pc:spChg chg="mod">
          <ac:chgData name="vonWaldow, Ulrich" userId="c64b3fe1-2fbf-4408-adc4-30add62e991f" providerId="ADAL" clId="{B99A90B8-7D29-4456-AFD4-0F3DBA13A596}" dt="2024-08-26T10:47:56.207" v="1951" actId="20577"/>
          <ac:spMkLst>
            <pc:docMk/>
            <pc:sldMk cId="3074654135" sldId="1660"/>
            <ac:spMk id="2" creationId="{18897A08-4D98-BB10-5432-2BD3CF50F063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074654135" sldId="1660"/>
            <ac:spMk id="3" creationId="{DFC63A47-E808-0764-ED87-8B090759B0D3}"/>
          </ac:spMkLst>
        </pc:spChg>
        <pc:spChg chg="add del mod modVis">
          <ac:chgData name="vonWaldow, Ulrich" userId="c64b3fe1-2fbf-4408-adc4-30add62e991f" providerId="ADAL" clId="{B99A90B8-7D29-4456-AFD4-0F3DBA13A596}" dt="2024-08-26T10:47:49.050" v="1838"/>
          <ac:spMkLst>
            <pc:docMk/>
            <pc:sldMk cId="3074654135" sldId="1660"/>
            <ac:spMk id="4" creationId="{96A16F8B-831E-66D2-88DD-B6A6CA50D31D}"/>
          </ac:spMkLst>
        </pc:spChg>
        <pc:spChg chg="add del mod modVis">
          <ac:chgData name="vonWaldow, Ulrich" userId="c64b3fe1-2fbf-4408-adc4-30add62e991f" providerId="ADAL" clId="{B99A90B8-7D29-4456-AFD4-0F3DBA13A596}" dt="2024-08-26T10:47:51.307" v="1879"/>
          <ac:spMkLst>
            <pc:docMk/>
            <pc:sldMk cId="3074654135" sldId="1660"/>
            <ac:spMk id="6" creationId="{C83523EE-647F-6ED8-E374-EF32C7783CB7}"/>
          </ac:spMkLst>
        </pc:spChg>
        <pc:spChg chg="add del mod modVis">
          <ac:chgData name="vonWaldow, Ulrich" userId="c64b3fe1-2fbf-4408-adc4-30add62e991f" providerId="ADAL" clId="{B99A90B8-7D29-4456-AFD4-0F3DBA13A596}" dt="2024-08-26T10:47:56.207" v="1949" actId="962"/>
          <ac:spMkLst>
            <pc:docMk/>
            <pc:sldMk cId="3074654135" sldId="1660"/>
            <ac:spMk id="7" creationId="{BE9B4AD8-C9A0-8BA1-DA43-722DF97A5989}"/>
          </ac:spMkLst>
        </pc:spChg>
        <pc:spChg chg="add mod">
          <ac:chgData name="vonWaldow, Ulrich" userId="c64b3fe1-2fbf-4408-adc4-30add62e991f" providerId="ADAL" clId="{B99A90B8-7D29-4456-AFD4-0F3DBA13A596}" dt="2024-08-26T11:18:05.637" v="10004" actId="14100"/>
          <ac:spMkLst>
            <pc:docMk/>
            <pc:sldMk cId="3074654135" sldId="1660"/>
            <ac:spMk id="8" creationId="{F3396A75-982B-612D-3F9B-72263248C8B1}"/>
          </ac:spMkLst>
        </pc:spChg>
        <pc:spChg chg="add 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074654135" sldId="1660"/>
            <ac:spMk id="9" creationId="{9AB2372D-90A4-64A7-E3D9-D02628C15706}"/>
          </ac:spMkLst>
        </pc:spChg>
        <pc:spChg chg="add del mod">
          <ac:chgData name="vonWaldow, Ulrich" userId="c64b3fe1-2fbf-4408-adc4-30add62e991f" providerId="ADAL" clId="{B99A90B8-7D29-4456-AFD4-0F3DBA13A596}" dt="2024-08-26T10:48:14.486" v="1960" actId="478"/>
          <ac:spMkLst>
            <pc:docMk/>
            <pc:sldMk cId="3074654135" sldId="1660"/>
            <ac:spMk id="10" creationId="{C8C238FC-A19B-B98F-FAFC-BBD518329960}"/>
          </ac:spMkLst>
        </pc:spChg>
        <pc:spChg chg="add mod">
          <ac:chgData name="vonWaldow, Ulrich" userId="c64b3fe1-2fbf-4408-adc4-30add62e991f" providerId="ADAL" clId="{B99A90B8-7D29-4456-AFD4-0F3DBA13A596}" dt="2024-08-26T11:18:08.486" v="10005"/>
          <ac:spMkLst>
            <pc:docMk/>
            <pc:sldMk cId="3074654135" sldId="1660"/>
            <ac:spMk id="11" creationId="{FA2BB956-2CD8-5ABB-F07A-3456D59C50D2}"/>
          </ac:spMkLst>
        </pc:spChg>
        <pc:spChg chg="add mod">
          <ac:chgData name="vonWaldow, Ulrich" userId="c64b3fe1-2fbf-4408-adc4-30add62e991f" providerId="ADAL" clId="{B99A90B8-7D29-4456-AFD4-0F3DBA13A596}" dt="2024-08-26T10:48:26.422" v="1968" actId="20577"/>
          <ac:spMkLst>
            <pc:docMk/>
            <pc:sldMk cId="3074654135" sldId="1660"/>
            <ac:spMk id="12" creationId="{4D5D2DC7-76FF-663B-7F0C-2C032335A1E0}"/>
          </ac:spMkLst>
        </pc:spChg>
        <pc:spChg chg="add del mod">
          <ac:chgData name="vonWaldow, Ulrich" userId="c64b3fe1-2fbf-4408-adc4-30add62e991f" providerId="ADAL" clId="{B99A90B8-7D29-4456-AFD4-0F3DBA13A596}" dt="2024-08-26T10:48:22.097" v="1964" actId="478"/>
          <ac:spMkLst>
            <pc:docMk/>
            <pc:sldMk cId="3074654135" sldId="1660"/>
            <ac:spMk id="13" creationId="{E2506174-AB42-7FAA-E559-97D4BCDBE894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4" creationId="{954A4345-37C5-949A-18D4-27B0EB12FC84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5" creationId="{67538C4E-5ED1-C223-7905-226CBBECB7FF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7" creationId="{5F95520C-43B0-F3AE-897C-43D041B4BEB9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9" creationId="{C7FE738C-E675-C788-8F97-EAB844D99F31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0" creationId="{76D828C6-2FCE-9DEB-ED1A-CFBFBE9D49E9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2" creationId="{E5C2DEE9-2F18-8B53-E44E-A47CE8E6AAA8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4" creationId="{FB715304-E1A9-7FC1-05AE-CD15637E6ADE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5" creationId="{81C19024-73CF-37B6-3901-4BAEDCB09A31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7" creationId="{45D99804-CF0C-7D46-0064-7331D6A2F92A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9" creationId="{64272FF9-4A20-E164-77CF-55263685F972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0" creationId="{C5E1DAC5-3D39-34FD-9DDB-60E2E2BD208F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1" creationId="{201547BE-959F-3081-8F68-99DFA4936E6E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2" creationId="{334BE336-36F0-E6EB-1F65-451C37ED44B3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3" creationId="{652EDDF7-2528-6D5D-2CA0-33E70A298DCC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4" creationId="{0A37EADD-0B15-78DB-79DB-4983A27F9E4B}"/>
          </ac:spMkLst>
        </pc:s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16" creationId="{354E2C2E-A474-2176-D66F-BF12A0315C57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18" creationId="{1AA01E1A-FF02-398B-89C4-83B6551DD938}"/>
          </ac:grpSpMkLst>
        </pc:gr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1" creationId="{1B5A55C0-4C44-813F-C4E9-ED0BBC53F037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3" creationId="{5FE833C6-FF02-4A7F-267A-0D5945A01054}"/>
          </ac:grpSpMkLst>
        </pc:gr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6" creationId="{391BBFAC-97E4-3D83-48A3-07FB670CF43F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8" creationId="{3D3B47A4-7A54-EA35-8EF9-E5EB359A6124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0:47:56.270" v="1953"/>
          <ac:graphicFrameMkLst>
            <pc:docMk/>
            <pc:sldMk cId="3074654135" sldId="1660"/>
            <ac:graphicFrameMk id="5" creationId="{CC049784-E8D4-2A90-7879-0BB7A69CA15C}"/>
          </ac:graphicFrameMkLst>
        </pc:graphicFrameChg>
      </pc:sldChg>
      <pc:sldChg chg="addSp delSp modSp new mod modClrScheme chgLayout">
        <pc:chgData name="vonWaldow, Ulrich" userId="c64b3fe1-2fbf-4408-adc4-30add62e991f" providerId="ADAL" clId="{B99A90B8-7D29-4456-AFD4-0F3DBA13A596}" dt="2024-09-03T12:07:13.147" v="111248"/>
        <pc:sldMkLst>
          <pc:docMk/>
          <pc:sldMk cId="1478122000" sldId="1661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1478122000" sldId="1661"/>
            <ac:spMk id="2" creationId="{EA56A385-3477-2A66-18C1-ADEC6DC01DD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" creationId="{E4B0FFFF-1A42-FD5E-595C-D9B692BA756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5" creationId="{E5DA8A67-4BC7-DA55-21B0-32F7297FD29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6" creationId="{B0B6F827-1249-B6A9-3999-472CB9DA89E3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7" creationId="{5F1D06F6-3FB9-9919-2195-10812D59847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8" creationId="{190BC584-DB45-4308-CA84-0F958DEABB6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9" creationId="{13B467B2-CE41-1645-43D0-B752E28A8F5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0" creationId="{FD06B872-B0E0-F381-3EBE-B297661A181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1" creationId="{C6910E5A-F997-60F6-64D2-79EFA9AC0FB3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2" creationId="{B190CCEB-C685-AF0E-0ECA-8B24F15ECD66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3" creationId="{427BADB8-FDC4-AE43-D30B-5F8766C9584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4" creationId="{120D65E6-B47C-50BB-814F-5BFF9A88E25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5" creationId="{61B89DFF-4C7B-1002-6818-64B723985F0D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6" creationId="{6A689726-76BD-918C-6B45-E54FAD2B170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7" creationId="{5BCFA085-B606-58D6-64BD-0D2A7995E40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8" creationId="{B44DBD1C-2FD7-C0ED-0102-5B5D595DE99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9" creationId="{C91717D1-D1A2-CF94-80B0-A12D0EB4760B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0" creationId="{7F280F30-360D-C515-4F8E-503679FEC53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1" creationId="{6B245285-1E3C-955F-9500-C149A279A93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2" creationId="{40321837-B611-D3F3-CA98-99CC9A64EB6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3" creationId="{0108F7F4-41D7-3457-541D-AF6940BC1D9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0" creationId="{218FC1F0-1EB7-FDD6-835C-CD1BD4BF055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1" creationId="{DAC00704-270C-2E63-4B84-29F09BF039A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2" creationId="{C713BD7B-D685-1444-725D-6F99704D11F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3" creationId="{7076CB90-6F11-EF6C-3E51-1E5214617CB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4" creationId="{15CD6F8D-CBD7-0610-E752-D39BC382842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5" creationId="{16484E40-0217-1D61-1D70-0C64FF4FE8A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6" creationId="{8EF9EBD3-D435-79A4-5C9B-4377F4E937F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7" creationId="{5051AADB-FD8D-E8D6-2259-6509076978A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8" creationId="{0D3E8256-D145-5535-778E-B8C47DCFB18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9" creationId="{89CCCE3E-082B-EAE8-DA10-2C91ABEBF39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0" creationId="{F52185A9-15A3-7101-E759-7E4A5E0166F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1" creationId="{877E9553-2DEB-0101-E8B0-0BF1CED8BBAD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2" creationId="{BD1DBF61-3EF3-B54F-25BD-4A04F53F762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3" creationId="{F837B68F-093C-E7EA-B6D9-A19D50F4AAC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5" creationId="{55E33BC5-386F-3174-99F2-0E6C8FAD1F9D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6" creationId="{1302E4DC-5D81-5477-F92A-012E4F2F967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7" creationId="{2BAE3062-D91F-48B6-8B5B-AD8257B75AC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8" creationId="{79D2F8FF-2564-7D6A-5B4E-7FCA46950D9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9" creationId="{76FE5900-B51C-2ADE-3A90-D5661F3DD372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0" creationId="{2B01E794-8676-9940-834D-5AB945C7712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1" creationId="{A6DFB0E2-8B75-ECCA-E03E-EF52422A0FB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2" creationId="{45E05265-3B67-AE5A-4C10-A8C961C8D9B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3" creationId="{B9563195-8A8C-8E3B-40A8-886ED22EDD02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4" creationId="{D7950F4D-8A21-49D8-023F-23E7115F56BD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5" creationId="{B4106F88-F8A6-B8AA-41AD-658332797B4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6" creationId="{91608213-7453-C9EC-B289-3A96D1A5E91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7" creationId="{F962D10A-7F46-F1C6-1D9A-599DFA8A6A2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8" creationId="{5DAB5E6D-9C85-C691-8BB9-505F5C4328B4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9" creationId="{751B3BFB-E211-F3A0-DF18-5B2B320FB039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0" creationId="{C06D811E-BD71-5FCA-A66D-4CF4D2627AD5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1" creationId="{2B783556-2C37-C35B-454A-C19F221D081A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2" creationId="{1534474C-9374-CEB1-EFF1-3562EBC5F1AE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3" creationId="{9062DCD9-D2A8-23C2-68F1-05BAAFBED2CA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4" creationId="{1832663B-DE63-C569-A4B0-B66B95E6944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1" creationId="{6B54F3A7-3573-E3FB-0C8D-56CDF35C7BC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2" creationId="{9643D089-3DAA-0C47-A802-A8436C234013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3" creationId="{B3100670-D77E-6226-75A3-10079F91B33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4" creationId="{E5C80AB3-CAEF-2D12-26DF-CE4DF72C0D6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5" creationId="{EB9F56EA-F881-D9A4-BA4B-7323FBFF1FC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6" creationId="{2B52E5B8-7294-7237-5B35-08AAB41EEF3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7" creationId="{484C1037-74ED-6EE1-A974-32BB1579EB0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8" creationId="{8BBD0E85-1066-9D41-27CE-08F832C80919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9" creationId="{456D387E-E509-DDFD-05F7-D3FE91F8D110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0" creationId="{82B644DA-4648-A8F4-F192-63171B4C522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1" creationId="{81782E97-85B4-D9F6-7D85-98A20EE6EDF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2" creationId="{9A410F05-6D31-6673-9D78-67328D2B3C66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3" creationId="{66E3F6E6-C211-99C5-B342-7E1842D72594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4" creationId="{5FC07FE5-2E00-BB2B-E9C0-E90654E2F41E}"/>
          </ac:spMkLst>
        </pc:spChg>
        <pc:spChg chg="add del mod modVis">
          <ac:chgData name="vonWaldow, Ulrich" userId="c64b3fe1-2fbf-4408-adc4-30add62e991f" providerId="ADAL" clId="{B99A90B8-7D29-4456-AFD4-0F3DBA13A596}" dt="2024-08-26T11:35:13.206" v="31567"/>
          <ac:spMkLst>
            <pc:docMk/>
            <pc:sldMk cId="1478122000" sldId="1661"/>
            <ac:spMk id="85" creationId="{645EF4E0-F8AD-C2FD-59E9-08DE1912D22F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1478122000" sldId="1661"/>
            <ac:spMk id="87" creationId="{72219017-1CD8-9DED-8511-F7A4C5DDF388}"/>
          </ac:spMkLst>
        </pc:spChg>
        <pc:spChg chg="add del mod modVis">
          <ac:chgData name="vonWaldow, Ulrich" userId="c64b3fe1-2fbf-4408-adc4-30add62e991f" providerId="ADAL" clId="{B99A90B8-7D29-4456-AFD4-0F3DBA13A596}" dt="2024-08-26T11:35:19.679" v="31605"/>
          <ac:spMkLst>
            <pc:docMk/>
            <pc:sldMk cId="1478122000" sldId="1661"/>
            <ac:spMk id="88" creationId="{5BBC7608-647B-BA3A-FA12-7DE0BD972763}"/>
          </ac:spMkLst>
        </pc:spChg>
        <pc:spChg chg="add del mod modVis">
          <ac:chgData name="vonWaldow, Ulrich" userId="c64b3fe1-2fbf-4408-adc4-30add62e991f" providerId="ADAL" clId="{B99A90B8-7D29-4456-AFD4-0F3DBA13A596}" dt="2024-08-26T11:35:48.471" v="31661"/>
          <ac:spMkLst>
            <pc:docMk/>
            <pc:sldMk cId="1478122000" sldId="1661"/>
            <ac:spMk id="89" creationId="{C50A7AC9-36AD-ED3C-381E-97436B9E171C}"/>
          </ac:spMkLst>
        </pc:spChg>
        <pc:spChg chg="add del mod modVis">
          <ac:chgData name="vonWaldow, Ulrich" userId="c64b3fe1-2fbf-4408-adc4-30add62e991f" providerId="ADAL" clId="{B99A90B8-7D29-4456-AFD4-0F3DBA13A596}" dt="2024-08-26T11:35:49.609" v="31687"/>
          <ac:spMkLst>
            <pc:docMk/>
            <pc:sldMk cId="1478122000" sldId="1661"/>
            <ac:spMk id="90" creationId="{A4B258C1-7B83-5F76-CEC5-6D2C4CA47BB7}"/>
          </ac:spMkLst>
        </pc:spChg>
        <pc:spChg chg="add del mod modVis">
          <ac:chgData name="vonWaldow, Ulrich" userId="c64b3fe1-2fbf-4408-adc4-30add62e991f" providerId="ADAL" clId="{B99A90B8-7D29-4456-AFD4-0F3DBA13A596}" dt="2024-08-26T11:35:51.091" v="31712"/>
          <ac:spMkLst>
            <pc:docMk/>
            <pc:sldMk cId="1478122000" sldId="1661"/>
            <ac:spMk id="91" creationId="{792AB8A6-E984-2E17-4721-20F1F6C84A8E}"/>
          </ac:spMkLst>
        </pc:spChg>
        <pc:spChg chg="add del mod modVis">
          <ac:chgData name="vonWaldow, Ulrich" userId="c64b3fe1-2fbf-4408-adc4-30add62e991f" providerId="ADAL" clId="{B99A90B8-7D29-4456-AFD4-0F3DBA13A596}" dt="2024-08-26T11:37:12.113" v="31931" actId="962"/>
          <ac:spMkLst>
            <pc:docMk/>
            <pc:sldMk cId="1478122000" sldId="1661"/>
            <ac:spMk id="92" creationId="{009FB675-A29F-4638-3941-B1A191A3472A}"/>
          </ac:spMkLst>
        </pc:spChg>
        <pc:spChg chg="add del mod modVis">
          <ac:chgData name="vonWaldow, Ulrich" userId="c64b3fe1-2fbf-4408-adc4-30add62e991f" providerId="ADAL" clId="{B99A90B8-7D29-4456-AFD4-0F3DBA13A596}" dt="2024-08-26T11:37:11.924" v="31907" actId="962"/>
          <ac:spMkLst>
            <pc:docMk/>
            <pc:sldMk cId="1478122000" sldId="1661"/>
            <ac:spMk id="93" creationId="{28BB017A-A70B-9FC2-A041-8F6E275842CA}"/>
          </ac:spMkLst>
        </pc:spChg>
        <pc:spChg chg="add del mod modVis">
          <ac:chgData name="vonWaldow, Ulrich" userId="c64b3fe1-2fbf-4408-adc4-30add62e991f" providerId="ADAL" clId="{B99A90B8-7D29-4456-AFD4-0F3DBA13A596}" dt="2024-08-26T11:37:11.767" v="31882" actId="962"/>
          <ac:spMkLst>
            <pc:docMk/>
            <pc:sldMk cId="1478122000" sldId="1661"/>
            <ac:spMk id="94" creationId="{8F34F31B-36AD-505E-27DE-A0E6045286EB}"/>
          </ac:spMkLst>
        </pc:spChg>
        <pc:spChg chg="add del mod modVis">
          <ac:chgData name="vonWaldow, Ulrich" userId="c64b3fe1-2fbf-4408-adc4-30add62e991f" providerId="ADAL" clId="{B99A90B8-7D29-4456-AFD4-0F3DBA13A596}" dt="2024-08-26T11:37:22.517" v="31958"/>
          <ac:spMkLst>
            <pc:docMk/>
            <pc:sldMk cId="1478122000" sldId="1661"/>
            <ac:spMk id="95" creationId="{D6FA277F-91B9-CD13-ACD9-9B7E4CFD5FBD}"/>
          </ac:spMkLst>
        </pc:spChg>
        <pc:grpChg chg="add mod">
          <ac:chgData name="vonWaldow, Ulrich" userId="c64b3fe1-2fbf-4408-adc4-30add62e991f" providerId="ADAL" clId="{B99A90B8-7D29-4456-AFD4-0F3DBA13A596}" dt="2024-08-26T11:35:03.894" v="31519"/>
          <ac:grpSpMkLst>
            <pc:docMk/>
            <pc:sldMk cId="1478122000" sldId="1661"/>
            <ac:grpSpMk id="3" creationId="{34CD4A63-A710-520A-3736-0CFA980F7DBA}"/>
          </ac:grpSpMkLst>
        </pc:grpChg>
        <pc:grpChg chg="add mod">
          <ac:chgData name="vonWaldow, Ulrich" userId="c64b3fe1-2fbf-4408-adc4-30add62e991f" providerId="ADAL" clId="{B99A90B8-7D29-4456-AFD4-0F3DBA13A596}" dt="2024-08-26T11:35:08.325" v="31520"/>
          <ac:grpSpMkLst>
            <pc:docMk/>
            <pc:sldMk cId="1478122000" sldId="1661"/>
            <ac:grpSpMk id="44" creationId="{519ABAA5-9371-9D93-2ED0-77FAF0795BFF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37:22.532" v="31960"/>
          <ac:graphicFrameMkLst>
            <pc:docMk/>
            <pc:sldMk cId="1478122000" sldId="1661"/>
            <ac:graphicFrameMk id="86" creationId="{53365739-E748-8319-96D9-008128EF69BF}"/>
          </ac:graphicFrameMkLst>
        </pc:graphicFrame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4" creationId="{BDD3AB88-0CB3-4C04-C2A5-139D05FADD3E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5" creationId="{3E72170F-DAE3-53B2-3A56-3D4E5C115357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6" creationId="{4A727999-3F9D-5E81-EF50-2D28E045CB3B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7" creationId="{EC690C25-B768-8B30-CC97-AB26F29910DF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8" creationId="{0476F088-62ED-9F31-2C01-B9C8D84E0357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9" creationId="{10AAD414-A313-C14E-5EAF-43471ADF0D6C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5" creationId="{A5D7B4A3-A6BF-C174-A318-96AA010271D9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6" creationId="{4A7D02A6-73BB-1F7B-D6B3-D72F4E25CEE8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7" creationId="{82C58659-3B69-91D1-AEE8-5577A8248E91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8" creationId="{757379E3-0C11-B6DA-2D69-5CB85F7A4392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9" creationId="{DC37D8DA-F589-717F-9A07-B7A1CF974521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70" creationId="{29C921E2-5A7F-E30C-6AB8-500E3A71B59D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8-26T11:54:19.436" v="33240"/>
        <pc:sldMkLst>
          <pc:docMk/>
          <pc:sldMk cId="3905293813" sldId="1662"/>
        </pc:sldMkLst>
        <pc:spChg chg="mod ord">
          <ac:chgData name="vonWaldow, Ulrich" userId="c64b3fe1-2fbf-4408-adc4-30add62e991f" providerId="ADAL" clId="{B99A90B8-7D29-4456-AFD4-0F3DBA13A596}" dt="2024-08-26T11:54:19.421" v="33217" actId="948"/>
          <ac:spMkLst>
            <pc:docMk/>
            <pc:sldMk cId="3905293813" sldId="1662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1:40:43.051" v="32126" actId="962"/>
          <ac:spMkLst>
            <pc:docMk/>
            <pc:sldMk cId="3905293813" sldId="1662"/>
            <ac:spMk id="3" creationId="{468854C3-5227-DEAA-ED66-5F3824892131}"/>
          </ac:spMkLst>
        </pc:spChg>
        <pc:spChg chg="add del mod modVis">
          <ac:chgData name="vonWaldow, Ulrich" userId="c64b3fe1-2fbf-4408-adc4-30add62e991f" providerId="ADAL" clId="{B99A90B8-7D29-4456-AFD4-0F3DBA13A596}" dt="2024-08-26T11:40:43.035" v="32100" actId="962"/>
          <ac:spMkLst>
            <pc:docMk/>
            <pc:sldMk cId="3905293813" sldId="1662"/>
            <ac:spMk id="5" creationId="{97FA0BFE-71CB-9CA9-ADFD-D51C65A8FF4A}"/>
          </ac:spMkLst>
        </pc:spChg>
        <pc:spChg chg="add del mod modVis">
          <ac:chgData name="vonWaldow, Ulrich" userId="c64b3fe1-2fbf-4408-adc4-30add62e991f" providerId="ADAL" clId="{B99A90B8-7D29-4456-AFD4-0F3DBA13A596}" dt="2024-08-26T11:40:45.053" v="32154"/>
          <ac:spMkLst>
            <pc:docMk/>
            <pc:sldMk cId="3905293813" sldId="1662"/>
            <ac:spMk id="6" creationId="{672A1E9C-8113-45B6-91A2-C011AE5D7261}"/>
          </ac:spMkLst>
        </pc:spChg>
        <pc:spChg chg="add del mod modVis">
          <ac:chgData name="vonWaldow, Ulrich" userId="c64b3fe1-2fbf-4408-adc4-30add62e991f" providerId="ADAL" clId="{B99A90B8-7D29-4456-AFD4-0F3DBA13A596}" dt="2024-08-26T11:40:47.953" v="32196"/>
          <ac:spMkLst>
            <pc:docMk/>
            <pc:sldMk cId="3905293813" sldId="1662"/>
            <ac:spMk id="8" creationId="{390FC9DB-E83A-D15A-C72F-A763980E5F8E}"/>
          </ac:spMkLst>
        </pc:spChg>
        <pc:spChg chg="add del mod modVis">
          <ac:chgData name="vonWaldow, Ulrich" userId="c64b3fe1-2fbf-4408-adc4-30add62e991f" providerId="ADAL" clId="{B99A90B8-7D29-4456-AFD4-0F3DBA13A596}" dt="2024-08-26T11:40:51.712" v="32234"/>
          <ac:spMkLst>
            <pc:docMk/>
            <pc:sldMk cId="3905293813" sldId="1662"/>
            <ac:spMk id="9" creationId="{13B357B2-9261-1DFB-D7FB-8906561B880F}"/>
          </ac:spMkLst>
        </pc:spChg>
        <pc:spChg chg="add del mod modVis">
          <ac:chgData name="vonWaldow, Ulrich" userId="c64b3fe1-2fbf-4408-adc4-30add62e991f" providerId="ADAL" clId="{B99A90B8-7D29-4456-AFD4-0F3DBA13A596}" dt="2024-08-26T11:40:53.095" v="32269"/>
          <ac:spMkLst>
            <pc:docMk/>
            <pc:sldMk cId="3905293813" sldId="1662"/>
            <ac:spMk id="10" creationId="{A0E40136-F7C7-97FC-1F1A-84EBB5A85118}"/>
          </ac:spMkLst>
        </pc:spChg>
        <pc:spChg chg="add del mod modVis">
          <ac:chgData name="vonWaldow, Ulrich" userId="c64b3fe1-2fbf-4408-adc4-30add62e991f" providerId="ADAL" clId="{B99A90B8-7D29-4456-AFD4-0F3DBA13A596}" dt="2024-08-26T11:40:53.708" v="32298"/>
          <ac:spMkLst>
            <pc:docMk/>
            <pc:sldMk cId="3905293813" sldId="1662"/>
            <ac:spMk id="11" creationId="{26AD646C-C307-B9BA-34CA-5AEED5D9BAFD}"/>
          </ac:spMkLst>
        </pc:spChg>
        <pc:spChg chg="add del mod modVis">
          <ac:chgData name="vonWaldow, Ulrich" userId="c64b3fe1-2fbf-4408-adc4-30add62e991f" providerId="ADAL" clId="{B99A90B8-7D29-4456-AFD4-0F3DBA13A596}" dt="2024-08-26T11:40:55.421" v="32351"/>
          <ac:spMkLst>
            <pc:docMk/>
            <pc:sldMk cId="3905293813" sldId="1662"/>
            <ac:spMk id="12" creationId="{71A6E058-188B-9B64-BC5F-C1FF2BAEBE52}"/>
          </ac:spMkLst>
        </pc:spChg>
        <pc:spChg chg="add del mod modVis">
          <ac:chgData name="vonWaldow, Ulrich" userId="c64b3fe1-2fbf-4408-adc4-30add62e991f" providerId="ADAL" clId="{B99A90B8-7D29-4456-AFD4-0F3DBA13A596}" dt="2024-08-26T11:40:57.212" v="32382"/>
          <ac:spMkLst>
            <pc:docMk/>
            <pc:sldMk cId="3905293813" sldId="1662"/>
            <ac:spMk id="13" creationId="{166510A7-F293-E54E-CBB7-32088E21BB39}"/>
          </ac:spMkLst>
        </pc:spChg>
        <pc:spChg chg="add del mod modVis">
          <ac:chgData name="vonWaldow, Ulrich" userId="c64b3fe1-2fbf-4408-adc4-30add62e991f" providerId="ADAL" clId="{B99A90B8-7D29-4456-AFD4-0F3DBA13A596}" dt="2024-08-26T11:41:00.528" v="32418"/>
          <ac:spMkLst>
            <pc:docMk/>
            <pc:sldMk cId="3905293813" sldId="1662"/>
            <ac:spMk id="14" creationId="{5A31ED4E-F0D4-381A-F0A2-0A5EF4857DAA}"/>
          </ac:spMkLst>
        </pc:spChg>
        <pc:spChg chg="add del mod modVis">
          <ac:chgData name="vonWaldow, Ulrich" userId="c64b3fe1-2fbf-4408-adc4-30add62e991f" providerId="ADAL" clId="{B99A90B8-7D29-4456-AFD4-0F3DBA13A596}" dt="2024-08-26T11:41:08.391" v="32447"/>
          <ac:spMkLst>
            <pc:docMk/>
            <pc:sldMk cId="3905293813" sldId="1662"/>
            <ac:spMk id="15" creationId="{1129A63E-0F4B-4DBA-C4EA-05A396C71DE1}"/>
          </ac:spMkLst>
        </pc:spChg>
        <pc:spChg chg="add del mod modVis">
          <ac:chgData name="vonWaldow, Ulrich" userId="c64b3fe1-2fbf-4408-adc4-30add62e991f" providerId="ADAL" clId="{B99A90B8-7D29-4456-AFD4-0F3DBA13A596}" dt="2024-08-26T11:41:13.836" v="32482"/>
          <ac:spMkLst>
            <pc:docMk/>
            <pc:sldMk cId="3905293813" sldId="1662"/>
            <ac:spMk id="16" creationId="{ADB2CFE6-BA7C-FFF5-E88F-70A6DEF66A6B}"/>
          </ac:spMkLst>
        </pc:spChg>
        <pc:spChg chg="add del mod modVis">
          <ac:chgData name="vonWaldow, Ulrich" userId="c64b3fe1-2fbf-4408-adc4-30add62e991f" providerId="ADAL" clId="{B99A90B8-7D29-4456-AFD4-0F3DBA13A596}" dt="2024-08-26T11:41:19.093" v="32542"/>
          <ac:spMkLst>
            <pc:docMk/>
            <pc:sldMk cId="3905293813" sldId="1662"/>
            <ac:spMk id="17" creationId="{120154EC-AED7-F015-807C-789EBEBEDAE4}"/>
          </ac:spMkLst>
        </pc:spChg>
        <pc:spChg chg="add del mod modVis">
          <ac:chgData name="vonWaldow, Ulrich" userId="c64b3fe1-2fbf-4408-adc4-30add62e991f" providerId="ADAL" clId="{B99A90B8-7D29-4456-AFD4-0F3DBA13A596}" dt="2024-08-26T11:41:21.704" v="32571"/>
          <ac:spMkLst>
            <pc:docMk/>
            <pc:sldMk cId="3905293813" sldId="1662"/>
            <ac:spMk id="18" creationId="{6612A4ED-EB90-2C7A-CA24-C439F25A80A3}"/>
          </ac:spMkLst>
        </pc:spChg>
        <pc:spChg chg="add del mod modVis">
          <ac:chgData name="vonWaldow, Ulrich" userId="c64b3fe1-2fbf-4408-adc4-30add62e991f" providerId="ADAL" clId="{B99A90B8-7D29-4456-AFD4-0F3DBA13A596}" dt="2024-08-26T11:41:23.323" v="32596"/>
          <ac:spMkLst>
            <pc:docMk/>
            <pc:sldMk cId="3905293813" sldId="1662"/>
            <ac:spMk id="19" creationId="{8F6FD737-FEE1-2111-0701-8C98DBE15906}"/>
          </ac:spMkLst>
        </pc:spChg>
        <pc:spChg chg="add del mod modVis">
          <ac:chgData name="vonWaldow, Ulrich" userId="c64b3fe1-2fbf-4408-adc4-30add62e991f" providerId="ADAL" clId="{B99A90B8-7D29-4456-AFD4-0F3DBA13A596}" dt="2024-08-26T11:41:28.658" v="32621"/>
          <ac:spMkLst>
            <pc:docMk/>
            <pc:sldMk cId="3905293813" sldId="1662"/>
            <ac:spMk id="20" creationId="{A9E01412-F98B-99A4-0CF4-81FBE04D7E4D}"/>
          </ac:spMkLst>
        </pc:spChg>
        <pc:spChg chg="add mod ord">
          <ac:chgData name="vonWaldow, Ulrich" userId="c64b3fe1-2fbf-4408-adc4-30add62e991f" providerId="ADAL" clId="{B99A90B8-7D29-4456-AFD4-0F3DBA13A596}" dt="2024-08-26T11:54:00.748" v="33060"/>
          <ac:spMkLst>
            <pc:docMk/>
            <pc:sldMk cId="3905293813" sldId="1662"/>
            <ac:spMk id="21" creationId="{0097992F-3F49-01B8-2D07-8B603FE7E823}"/>
          </ac:spMkLst>
        </pc:spChg>
        <pc:spChg chg="add del mod modVis">
          <ac:chgData name="vonWaldow, Ulrich" userId="c64b3fe1-2fbf-4408-adc4-30add62e991f" providerId="ADAL" clId="{B99A90B8-7D29-4456-AFD4-0F3DBA13A596}" dt="2024-08-26T11:41:33.813" v="32646"/>
          <ac:spMkLst>
            <pc:docMk/>
            <pc:sldMk cId="3905293813" sldId="1662"/>
            <ac:spMk id="22" creationId="{37B25B00-F0B1-FEE4-DB25-9840A44E377C}"/>
          </ac:spMkLst>
        </pc:spChg>
        <pc:spChg chg="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24" creationId="{C01776D6-6DAA-AE16-04AF-05E3BF28D4A1}"/>
          </ac:spMkLst>
        </pc:spChg>
        <pc:spChg chg="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25" creationId="{C0F794AA-F9EF-50C9-D65C-E2AE076788B8}"/>
          </ac:spMkLst>
        </pc:spChg>
        <pc:spChg chg="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27" creationId="{79EB719E-E0A4-0DB1-F47F-47F9DC778C9A}"/>
          </ac:spMkLst>
        </pc:spChg>
        <pc:spChg chg="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28" creationId="{02DA35CA-A9A2-8799-A3B4-D21EB1371626}"/>
          </ac:spMkLst>
        </pc:spChg>
        <pc:spChg chg="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30" creationId="{99FE6A30-A72D-96C0-0B71-D51507169EE6}"/>
          </ac:spMkLst>
        </pc:spChg>
        <pc:spChg chg="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31" creationId="{13BBD894-039D-FF09-A3FC-02E7B45CA46B}"/>
          </ac:spMkLst>
        </pc:spChg>
        <pc:spChg chg="add 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36" creationId="{4F71C87C-FDED-3136-2634-3224FE16C3F3}"/>
          </ac:spMkLst>
        </pc:spChg>
        <pc:spChg chg="add">
          <ac:chgData name="vonWaldow, Ulrich" userId="c64b3fe1-2fbf-4408-adc4-30add62e991f" providerId="ADAL" clId="{B99A90B8-7D29-4456-AFD4-0F3DBA13A596}" dt="2024-08-26T11:43:50.114" v="32677"/>
          <ac:spMkLst>
            <pc:docMk/>
            <pc:sldMk cId="3905293813" sldId="1662"/>
            <ac:spMk id="37" creationId="{4DF15441-A06C-4303-8029-8C3EA7C8076F}"/>
          </ac:spMkLst>
        </pc:spChg>
        <pc:spChg chg="add 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38" creationId="{35126B22-605C-7C3F-FE6F-04EE8AEA057C}"/>
          </ac:spMkLst>
        </pc:spChg>
        <pc:spChg chg="add">
          <ac:chgData name="vonWaldow, Ulrich" userId="c64b3fe1-2fbf-4408-adc4-30add62e991f" providerId="ADAL" clId="{B99A90B8-7D29-4456-AFD4-0F3DBA13A596}" dt="2024-08-26T11:44:57.682" v="32704"/>
          <ac:spMkLst>
            <pc:docMk/>
            <pc:sldMk cId="3905293813" sldId="1662"/>
            <ac:spMk id="39" creationId="{C30CC35C-4C31-5644-6CEC-5983A7001AAE}"/>
          </ac:spMkLst>
        </pc:spChg>
        <pc:spChg chg="add 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40" creationId="{4E149F5B-988F-A75C-8B2D-6CADE498DCEB}"/>
          </ac:spMkLst>
        </pc:spChg>
        <pc:spChg chg="mod topLvl">
          <ac:chgData name="vonWaldow, Ulrich" userId="c64b3fe1-2fbf-4408-adc4-30add62e991f" providerId="ADAL" clId="{B99A90B8-7D29-4456-AFD4-0F3DBA13A596}" dt="2024-08-26T11:52:41.986" v="32969" actId="139"/>
          <ac:spMkLst>
            <pc:docMk/>
            <pc:sldMk cId="3905293813" sldId="1662"/>
            <ac:spMk id="44" creationId="{B6A2C087-1485-A8AE-E1F8-2F7A69EFBC6E}"/>
          </ac:spMkLst>
        </pc:spChg>
        <pc:spChg chg="del mod topLvl">
          <ac:chgData name="vonWaldow, Ulrich" userId="c64b3fe1-2fbf-4408-adc4-30add62e991f" providerId="ADAL" clId="{B99A90B8-7D29-4456-AFD4-0F3DBA13A596}" dt="2024-08-26T11:48:37.969" v="32779" actId="478"/>
          <ac:spMkLst>
            <pc:docMk/>
            <pc:sldMk cId="3905293813" sldId="1662"/>
            <ac:spMk id="45" creationId="{5DC46754-463C-EFF4-6673-6B5F1C3E6948}"/>
          </ac:spMkLst>
        </pc:spChg>
        <pc:spChg chg="add del mod modVis">
          <ac:chgData name="vonWaldow, Ulrich" userId="c64b3fe1-2fbf-4408-adc4-30add62e991f" providerId="ADAL" clId="{B99A90B8-7D29-4456-AFD4-0F3DBA13A596}" dt="2024-08-26T11:49:34.991" v="32839"/>
          <ac:spMkLst>
            <pc:docMk/>
            <pc:sldMk cId="3905293813" sldId="1662"/>
            <ac:spMk id="56" creationId="{EFA42034-4291-0034-D162-ABBE62EE7929}"/>
          </ac:spMkLst>
        </pc:spChg>
        <pc:spChg chg="add mod">
          <ac:chgData name="vonWaldow, Ulrich" userId="c64b3fe1-2fbf-4408-adc4-30add62e991f" providerId="ADAL" clId="{B99A90B8-7D29-4456-AFD4-0F3DBA13A596}" dt="2024-08-26T11:52:13.247" v="32947"/>
          <ac:spMkLst>
            <pc:docMk/>
            <pc:sldMk cId="3905293813" sldId="1662"/>
            <ac:spMk id="57" creationId="{BB335E22-1C10-FE4A-8951-A3674C80A48A}"/>
          </ac:spMkLst>
        </pc:spChg>
        <pc:spChg chg="add mod topLvl">
          <ac:chgData name="vonWaldow, Ulrich" userId="c64b3fe1-2fbf-4408-adc4-30add62e991f" providerId="ADAL" clId="{B99A90B8-7D29-4456-AFD4-0F3DBA13A596}" dt="2024-08-26T11:52:15.186" v="32949"/>
          <ac:spMkLst>
            <pc:docMk/>
            <pc:sldMk cId="3905293813" sldId="1662"/>
            <ac:spMk id="58" creationId="{DAC260A8-3765-C687-3ED9-E80D8A9CAC15}"/>
          </ac:spMkLst>
        </pc:spChg>
        <pc:spChg chg="add">
          <ac:chgData name="vonWaldow, Ulrich" userId="c64b3fe1-2fbf-4408-adc4-30add62e991f" providerId="ADAL" clId="{B99A90B8-7D29-4456-AFD4-0F3DBA13A596}" dt="2024-08-26T11:50:27.001" v="32863"/>
          <ac:spMkLst>
            <pc:docMk/>
            <pc:sldMk cId="3905293813" sldId="1662"/>
            <ac:spMk id="59" creationId="{38F5FCEB-567A-88A0-4C15-CE81B78198D8}"/>
          </ac:spMkLst>
        </pc:spChg>
        <pc:spChg chg="add del mod">
          <ac:chgData name="vonWaldow, Ulrich" userId="c64b3fe1-2fbf-4408-adc4-30add62e991f" providerId="ADAL" clId="{B99A90B8-7D29-4456-AFD4-0F3DBA13A596}" dt="2024-08-26T11:53:10.147" v="32991" actId="478"/>
          <ac:spMkLst>
            <pc:docMk/>
            <pc:sldMk cId="3905293813" sldId="1662"/>
            <ac:spMk id="61" creationId="{DB890D7E-6EE2-B694-2F8E-828AD9C4D6AE}"/>
          </ac:spMkLst>
        </pc:spChg>
        <pc:spChg chg="del mod">
          <ac:chgData name="vonWaldow, Ulrich" userId="c64b3fe1-2fbf-4408-adc4-30add62e991f" providerId="ADAL" clId="{B99A90B8-7D29-4456-AFD4-0F3DBA13A596}" dt="2024-08-26T11:53:10.147" v="32991" actId="478"/>
          <ac:spMkLst>
            <pc:docMk/>
            <pc:sldMk cId="3905293813" sldId="1662"/>
            <ac:spMk id="62" creationId="{8508FD93-CCAC-1DF0-0CB9-AB6AA7A4803C}"/>
          </ac:spMkLst>
        </pc:spChg>
        <pc:spChg chg="add del mod modVis">
          <ac:chgData name="vonWaldow, Ulrich" userId="c64b3fe1-2fbf-4408-adc4-30add62e991f" providerId="ADAL" clId="{B99A90B8-7D29-4456-AFD4-0F3DBA13A596}" dt="2024-08-26T11:53:48.875" v="33026"/>
          <ac:spMkLst>
            <pc:docMk/>
            <pc:sldMk cId="3905293813" sldId="1662"/>
            <ac:spMk id="67" creationId="{6622074E-0DEF-F664-7CF8-6C4B2FB403D2}"/>
          </ac:spMkLst>
        </pc:spChg>
        <pc:spChg chg="add del mod modVis">
          <ac:chgData name="vonWaldow, Ulrich" userId="c64b3fe1-2fbf-4408-adc4-30add62e991f" providerId="ADAL" clId="{B99A90B8-7D29-4456-AFD4-0F3DBA13A596}" dt="2024-08-26T11:54:05.150" v="33079" actId="962"/>
          <ac:spMkLst>
            <pc:docMk/>
            <pc:sldMk cId="3905293813" sldId="1662"/>
            <ac:spMk id="68" creationId="{5D0575C9-A6A0-9FAA-4B24-2A1B9F513720}"/>
          </ac:spMkLst>
        </pc:spChg>
        <pc:spChg chg="add del mod modVis">
          <ac:chgData name="vonWaldow, Ulrich" userId="c64b3fe1-2fbf-4408-adc4-30add62e991f" providerId="ADAL" clId="{B99A90B8-7D29-4456-AFD4-0F3DBA13A596}" dt="2024-08-26T11:54:11.040" v="33106"/>
          <ac:spMkLst>
            <pc:docMk/>
            <pc:sldMk cId="3905293813" sldId="1662"/>
            <ac:spMk id="69" creationId="{913E9124-FEFE-7120-1757-E721A12E6449}"/>
          </ac:spMkLst>
        </pc:spChg>
        <pc:spChg chg="add del mod modVis">
          <ac:chgData name="vonWaldow, Ulrich" userId="c64b3fe1-2fbf-4408-adc4-30add62e991f" providerId="ADAL" clId="{B99A90B8-7D29-4456-AFD4-0F3DBA13A596}" dt="2024-08-26T11:54:12.632" v="33131"/>
          <ac:spMkLst>
            <pc:docMk/>
            <pc:sldMk cId="3905293813" sldId="1662"/>
            <ac:spMk id="70" creationId="{CE04D9E7-5CFF-C8B7-ED3E-C699183C87CA}"/>
          </ac:spMkLst>
        </pc:spChg>
        <pc:spChg chg="add del mod modVis">
          <ac:chgData name="vonWaldow, Ulrich" userId="c64b3fe1-2fbf-4408-adc4-30add62e991f" providerId="ADAL" clId="{B99A90B8-7D29-4456-AFD4-0F3DBA13A596}" dt="2024-08-26T11:54:13.599" v="33156"/>
          <ac:spMkLst>
            <pc:docMk/>
            <pc:sldMk cId="3905293813" sldId="1662"/>
            <ac:spMk id="71" creationId="{328306E5-55B9-BE8C-10AA-7C6A6E1AA379}"/>
          </ac:spMkLst>
        </pc:spChg>
        <pc:spChg chg="add del mod modVis">
          <ac:chgData name="vonWaldow, Ulrich" userId="c64b3fe1-2fbf-4408-adc4-30add62e991f" providerId="ADAL" clId="{B99A90B8-7D29-4456-AFD4-0F3DBA13A596}" dt="2024-08-26T11:54:14.286" v="33181"/>
          <ac:spMkLst>
            <pc:docMk/>
            <pc:sldMk cId="3905293813" sldId="1662"/>
            <ac:spMk id="72" creationId="{CB3D204A-2CFC-EA63-9E10-2F4F7E31E079}"/>
          </ac:spMkLst>
        </pc:spChg>
        <pc:spChg chg="add del mod modVis">
          <ac:chgData name="vonWaldow, Ulrich" userId="c64b3fe1-2fbf-4408-adc4-30add62e991f" providerId="ADAL" clId="{B99A90B8-7D29-4456-AFD4-0F3DBA13A596}" dt="2024-08-26T11:54:17.292" v="33213"/>
          <ac:spMkLst>
            <pc:docMk/>
            <pc:sldMk cId="3905293813" sldId="1662"/>
            <ac:spMk id="73" creationId="{FC46DE55-F60E-5658-9110-6A814FA074BD}"/>
          </ac:spMkLst>
        </pc:spChg>
        <pc:spChg chg="add del mod modVis">
          <ac:chgData name="vonWaldow, Ulrich" userId="c64b3fe1-2fbf-4408-adc4-30add62e991f" providerId="ADAL" clId="{B99A90B8-7D29-4456-AFD4-0F3DBA13A596}" dt="2024-08-26T11:54:19.436" v="33238"/>
          <ac:spMkLst>
            <pc:docMk/>
            <pc:sldMk cId="3905293813" sldId="1662"/>
            <ac:spMk id="74" creationId="{B2C88A9C-FBC3-819C-93D9-C6D9E94540D0}"/>
          </ac:spMkLst>
        </pc:s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3" creationId="{73F3BAE9-4D19-9206-392A-CA46B3D7E5E4}"/>
          </ac:grpSpMkLst>
        </pc:gr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6" creationId="{E5469543-E6D9-C1AD-E877-A3751C413F7B}"/>
          </ac:grpSpMkLst>
        </pc:gr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9" creationId="{4F74977F-FBC7-F5F3-E4E7-7CB9D40032EC}"/>
          </ac:grpSpMkLst>
        </pc:grpChg>
        <pc:grpChg chg="add mod">
          <ac:chgData name="vonWaldow, Ulrich" userId="c64b3fe1-2fbf-4408-adc4-30add62e991f" providerId="ADAL" clId="{B99A90B8-7D29-4456-AFD4-0F3DBA13A596}" dt="2024-08-26T11:43:15.151" v="32665" actId="164"/>
          <ac:grpSpMkLst>
            <pc:docMk/>
            <pc:sldMk cId="3905293813" sldId="1662"/>
            <ac:grpSpMk id="32" creationId="{9DD7903E-A970-BF2A-CDDE-C20FFAB3029A}"/>
          </ac:grpSpMkLst>
        </pc:grpChg>
        <pc:grpChg chg="add del mod topLvl">
          <ac:chgData name="vonWaldow, Ulrich" userId="c64b3fe1-2fbf-4408-adc4-30add62e991f" providerId="ADAL" clId="{B99A90B8-7D29-4456-AFD4-0F3DBA13A596}" dt="2024-08-26T11:48:13.937" v="32762" actId="165"/>
          <ac:grpSpMkLst>
            <pc:docMk/>
            <pc:sldMk cId="3905293813" sldId="1662"/>
            <ac:grpSpMk id="33" creationId="{B5382BA2-973C-E9DE-0A40-F85682DD44EB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34" creationId="{737C4A20-6967-34CF-896B-C69020EEEC0F}"/>
          </ac:grpSpMkLst>
        </pc:grpChg>
        <pc:grpChg chg="add del mod topLvl">
          <ac:chgData name="vonWaldow, Ulrich" userId="c64b3fe1-2fbf-4408-adc4-30add62e991f" providerId="ADAL" clId="{B99A90B8-7D29-4456-AFD4-0F3DBA13A596}" dt="2024-08-26T11:48:13.433" v="32761" actId="165"/>
          <ac:grpSpMkLst>
            <pc:docMk/>
            <pc:sldMk cId="3905293813" sldId="1662"/>
            <ac:grpSpMk id="35" creationId="{F013973B-D2B8-431D-B721-D74FC20E39C9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41" creationId="{11CF5547-4AA5-F3E2-3039-16C5189EB13A}"/>
          </ac:grpSpMkLst>
        </pc:grpChg>
        <pc:grpChg chg="add del mod">
          <ac:chgData name="vonWaldow, Ulrich" userId="c64b3fe1-2fbf-4408-adc4-30add62e991f" providerId="ADAL" clId="{B99A90B8-7D29-4456-AFD4-0F3DBA13A596}" dt="2024-08-26T11:46:41.865" v="32744" actId="165"/>
          <ac:grpSpMkLst>
            <pc:docMk/>
            <pc:sldMk cId="3905293813" sldId="1662"/>
            <ac:grpSpMk id="42" creationId="{82A7B18E-6C36-28F8-7C1C-750DF361AECD}"/>
          </ac:grpSpMkLst>
        </pc:grpChg>
        <pc:grpChg chg="add del mod">
          <ac:chgData name="vonWaldow, Ulrich" userId="c64b3fe1-2fbf-4408-adc4-30add62e991f" providerId="ADAL" clId="{B99A90B8-7D29-4456-AFD4-0F3DBA13A596}" dt="2024-08-26T11:48:37.969" v="32779" actId="478"/>
          <ac:grpSpMkLst>
            <pc:docMk/>
            <pc:sldMk cId="3905293813" sldId="1662"/>
            <ac:grpSpMk id="43" creationId="{D13AE216-7172-062F-B26C-E298C1D5548C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46" creationId="{62E9247C-92FF-1EEA-5558-BB340BA1C65C}"/>
          </ac:grpSpMkLst>
        </pc:grpChg>
        <pc:grpChg chg="add del mod">
          <ac:chgData name="vonWaldow, Ulrich" userId="c64b3fe1-2fbf-4408-adc4-30add62e991f" providerId="ADAL" clId="{B99A90B8-7D29-4456-AFD4-0F3DBA13A596}" dt="2024-08-26T11:51:05.539" v="32911" actId="165"/>
          <ac:grpSpMkLst>
            <pc:docMk/>
            <pc:sldMk cId="3905293813" sldId="1662"/>
            <ac:grpSpMk id="53" creationId="{9C20CEAB-F0EB-8178-2F7C-C032E056D2F4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54" creationId="{CD249BD0-21BC-BF82-1FA8-1BC577DDBC30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55" creationId="{374C9438-34A3-E85A-AFAF-87473080BE8C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60" creationId="{55732C2B-22DA-E4C4-7F27-1A83C971B931}"/>
          </ac:grpSpMkLst>
        </pc:grpChg>
        <pc:grpChg chg="add mod">
          <ac:chgData name="vonWaldow, Ulrich" userId="c64b3fe1-2fbf-4408-adc4-30add62e991f" providerId="ADAL" clId="{B99A90B8-7D29-4456-AFD4-0F3DBA13A596}" dt="2024-08-26T11:53:00.893" v="32986"/>
          <ac:grpSpMkLst>
            <pc:docMk/>
            <pc:sldMk cId="3905293813" sldId="1662"/>
            <ac:grpSpMk id="63" creationId="{DEBBE931-9479-C3D5-0893-7BE569EB1460}"/>
          </ac:grpSpMkLst>
        </pc:grpChg>
        <pc:grpChg chg="add del mod">
          <ac:chgData name="vonWaldow, Ulrich" userId="c64b3fe1-2fbf-4408-adc4-30add62e991f" providerId="ADAL" clId="{B99A90B8-7D29-4456-AFD4-0F3DBA13A596}" dt="2024-08-26T11:53:22.559" v="32997" actId="165"/>
          <ac:grpSpMkLst>
            <pc:docMk/>
            <pc:sldMk cId="3905293813" sldId="1662"/>
            <ac:grpSpMk id="64" creationId="{684475B3-287B-881B-FB20-EC5C1F516C8B}"/>
          </ac:grpSpMkLst>
        </pc:grpChg>
        <pc:grpChg chg="add mod">
          <ac:chgData name="vonWaldow, Ulrich" userId="c64b3fe1-2fbf-4408-adc4-30add62e991f" providerId="ADAL" clId="{B99A90B8-7D29-4456-AFD4-0F3DBA13A596}" dt="2024-08-26T11:53:20.788" v="32996" actId="465"/>
          <ac:grpSpMkLst>
            <pc:docMk/>
            <pc:sldMk cId="3905293813" sldId="1662"/>
            <ac:grpSpMk id="65" creationId="{1CEB12F6-5DBA-52DE-666D-DF7DB540427F}"/>
          </ac:grpSpMkLst>
        </pc:grpChg>
        <pc:grpChg chg="add mod">
          <ac:chgData name="vonWaldow, Ulrich" userId="c64b3fe1-2fbf-4408-adc4-30add62e991f" providerId="ADAL" clId="{B99A90B8-7D29-4456-AFD4-0F3DBA13A596}" dt="2024-08-26T11:53:29.608" v="32999" actId="465"/>
          <ac:grpSpMkLst>
            <pc:docMk/>
            <pc:sldMk cId="3905293813" sldId="1662"/>
            <ac:grpSpMk id="66" creationId="{37FAA256-13B4-4CCB-C154-C3D1D4F14A09}"/>
          </ac:grpSpMkLst>
        </pc:grpChg>
        <pc:graphicFrameChg chg="add mod ord modVis replST delST">
          <ac:chgData name="vonWaldow, Ulrich" userId="c64b3fe1-2fbf-4408-adc4-30add62e991f" providerId="ADAL" clId="{B99A90B8-7D29-4456-AFD4-0F3DBA13A596}" dt="2024-08-26T11:40:43.035" v="32108" actId="14100"/>
          <ac:graphicFrameMkLst>
            <pc:docMk/>
            <pc:sldMk cId="3905293813" sldId="1662"/>
            <ac:graphicFrameMk id="4" creationId="{FEB79FFD-0179-A41F-8105-8A435DD4C66A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6T11:54:19.436" v="33240"/>
          <ac:graphicFrameMkLst>
            <pc:docMk/>
            <pc:sldMk cId="3905293813" sldId="1662"/>
            <ac:graphicFrameMk id="7" creationId="{CFA9690A-1279-E85F-EA34-9D290346479B}"/>
          </ac:graphicFrameMkLst>
        </pc:graphicFrameChg>
        <pc:picChg chg="add mod topLvl">
          <ac:chgData name="vonWaldow, Ulrich" userId="c64b3fe1-2fbf-4408-adc4-30add62e991f" providerId="ADAL" clId="{B99A90B8-7D29-4456-AFD4-0F3DBA13A596}" dt="2024-08-26T11:53:05.459" v="32990"/>
          <ac:picMkLst>
            <pc:docMk/>
            <pc:sldMk cId="3905293813" sldId="1662"/>
            <ac:picMk id="48" creationId="{3027B6FC-5194-DF9D-0F85-3438F1EE291A}"/>
          </ac:picMkLst>
        </pc:picChg>
        <pc:picChg chg="add mod topLvl">
          <ac:chgData name="vonWaldow, Ulrich" userId="c64b3fe1-2fbf-4408-adc4-30add62e991f" providerId="ADAL" clId="{B99A90B8-7D29-4456-AFD4-0F3DBA13A596}" dt="2024-08-26T11:53:26.764" v="32998" actId="164"/>
          <ac:picMkLst>
            <pc:docMk/>
            <pc:sldMk cId="3905293813" sldId="1662"/>
            <ac:picMk id="50" creationId="{287B2AC8-68D8-9131-F23A-87E040FD92BA}"/>
          </ac:picMkLst>
        </pc:picChg>
        <pc:picChg chg="add mod topLvl">
          <ac:chgData name="vonWaldow, Ulrich" userId="c64b3fe1-2fbf-4408-adc4-30add62e991f" providerId="ADAL" clId="{B99A90B8-7D29-4456-AFD4-0F3DBA13A596}" dt="2024-08-26T11:53:00.893" v="32986"/>
          <ac:picMkLst>
            <pc:docMk/>
            <pc:sldMk cId="3905293813" sldId="1662"/>
            <ac:picMk id="52" creationId="{C7895794-96F6-0FA2-EDF7-38BCCEE79FD6}"/>
          </ac:picMkLst>
        </pc:picChg>
      </pc:sldChg>
      <pc:sldChg chg="addSp delSp modSp add mod modClrScheme chgLayout">
        <pc:chgData name="vonWaldow, Ulrich" userId="c64b3fe1-2fbf-4408-adc4-30add62e991f" providerId="ADAL" clId="{B99A90B8-7D29-4456-AFD4-0F3DBA13A596}" dt="2024-08-26T12:05:10.421" v="33852" actId="20577"/>
        <pc:sldMkLst>
          <pc:docMk/>
          <pc:sldMk cId="1822909178" sldId="1663"/>
        </pc:sldMkLst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1:56:54.199" v="33292"/>
          <ac:spMkLst>
            <pc:docMk/>
            <pc:sldMk cId="1822909178" sldId="1663"/>
            <ac:spMk id="3" creationId="{0B93310A-0404-4C11-0E75-BEA4C8DBB1D4}"/>
          </ac:spMkLst>
        </pc:spChg>
        <pc:spChg chg="add del mod modVis">
          <ac:chgData name="vonWaldow, Ulrich" userId="c64b3fe1-2fbf-4408-adc4-30add62e991f" providerId="ADAL" clId="{B99A90B8-7D29-4456-AFD4-0F3DBA13A596}" dt="2024-08-26T11:56:59.065" v="33346"/>
          <ac:spMkLst>
            <pc:docMk/>
            <pc:sldMk cId="1822909178" sldId="1663"/>
            <ac:spMk id="4" creationId="{B5E369EE-017B-4231-DCA0-F871F81191BF}"/>
          </ac:spMkLst>
        </pc:spChg>
        <pc:spChg chg="add del mod modVis">
          <ac:chgData name="vonWaldow, Ulrich" userId="c64b3fe1-2fbf-4408-adc4-30add62e991f" providerId="ADAL" clId="{B99A90B8-7D29-4456-AFD4-0F3DBA13A596}" dt="2024-08-26T11:57:01.253" v="33379"/>
          <ac:spMkLst>
            <pc:docMk/>
            <pc:sldMk cId="1822909178" sldId="1663"/>
            <ac:spMk id="5" creationId="{31FA776A-6D68-818D-F44D-0C7936A291A4}"/>
          </ac:spMkLst>
        </pc:spChg>
        <pc:spChg chg="add del mod modVis">
          <ac:chgData name="vonWaldow, Ulrich" userId="c64b3fe1-2fbf-4408-adc4-30add62e991f" providerId="ADAL" clId="{B99A90B8-7D29-4456-AFD4-0F3DBA13A596}" dt="2024-08-26T11:57:04.969" v="33404"/>
          <ac:spMkLst>
            <pc:docMk/>
            <pc:sldMk cId="1822909178" sldId="1663"/>
            <ac:spMk id="6" creationId="{6C554F70-8E4F-803E-8528-EB5BB505D414}"/>
          </ac:spMkLst>
        </pc:spChg>
        <pc:spChg chg="add del mod modVis">
          <ac:chgData name="vonWaldow, Ulrich" userId="c64b3fe1-2fbf-4408-adc4-30add62e991f" providerId="ADAL" clId="{B99A90B8-7D29-4456-AFD4-0F3DBA13A596}" dt="2024-08-26T11:57:08.602" v="33432"/>
          <ac:spMkLst>
            <pc:docMk/>
            <pc:sldMk cId="1822909178" sldId="1663"/>
            <ac:spMk id="8" creationId="{CF12D48D-EBB3-70FF-D56E-BC5B2751FFA4}"/>
          </ac:spMkLst>
        </pc:spChg>
        <pc:spChg chg="add del mod modVis">
          <ac:chgData name="vonWaldow, Ulrich" userId="c64b3fe1-2fbf-4408-adc4-30add62e991f" providerId="ADAL" clId="{B99A90B8-7D29-4456-AFD4-0F3DBA13A596}" dt="2024-08-26T11:57:51.504" v="33464"/>
          <ac:spMkLst>
            <pc:docMk/>
            <pc:sldMk cId="1822909178" sldId="1663"/>
            <ac:spMk id="9" creationId="{C4BF95BD-EADA-40E1-5FC4-E68D3BCBAF33}"/>
          </ac:spMkLst>
        </pc:spChg>
        <pc:spChg chg="add del mod modVis">
          <ac:chgData name="vonWaldow, Ulrich" userId="c64b3fe1-2fbf-4408-adc4-30add62e991f" providerId="ADAL" clId="{B99A90B8-7D29-4456-AFD4-0F3DBA13A596}" dt="2024-08-26T11:57:52.969" v="33491"/>
          <ac:spMkLst>
            <pc:docMk/>
            <pc:sldMk cId="1822909178" sldId="1663"/>
            <ac:spMk id="10" creationId="{54A31C54-FFB8-07D8-A5DA-9EE11BDBA56A}"/>
          </ac:spMkLst>
        </pc:spChg>
        <pc:spChg chg="add del mod modVis">
          <ac:chgData name="vonWaldow, Ulrich" userId="c64b3fe1-2fbf-4408-adc4-30add62e991f" providerId="ADAL" clId="{B99A90B8-7D29-4456-AFD4-0F3DBA13A596}" dt="2024-08-26T11:57:53.753" v="33516"/>
          <ac:spMkLst>
            <pc:docMk/>
            <pc:sldMk cId="1822909178" sldId="1663"/>
            <ac:spMk id="11" creationId="{C8AE1749-6993-5AD4-0241-E527B4C25419}"/>
          </ac:spMkLst>
        </pc:spChg>
        <pc:spChg chg="add del mod modVis">
          <ac:chgData name="vonWaldow, Ulrich" userId="c64b3fe1-2fbf-4408-adc4-30add62e991f" providerId="ADAL" clId="{B99A90B8-7D29-4456-AFD4-0F3DBA13A596}" dt="2024-08-26T11:58:25.500" v="33552"/>
          <ac:spMkLst>
            <pc:docMk/>
            <pc:sldMk cId="1822909178" sldId="1663"/>
            <ac:spMk id="12" creationId="{302B49E0-1F0E-8FE4-D515-D288933C889A}"/>
          </ac:spMkLst>
        </pc:spChg>
        <pc:spChg chg="add">
          <ac:chgData name="vonWaldow, Ulrich" userId="c64b3fe1-2fbf-4408-adc4-30add62e991f" providerId="ADAL" clId="{B99A90B8-7D29-4456-AFD4-0F3DBA13A596}" dt="2024-08-26T12:00:07.954" v="33607"/>
          <ac:spMkLst>
            <pc:docMk/>
            <pc:sldMk cId="1822909178" sldId="1663"/>
            <ac:spMk id="13" creationId="{CD3F40A3-2B98-2BFF-907A-AC7E85E87FB9}"/>
          </ac:spMkLst>
        </pc:spChg>
        <pc:spChg chg="add">
          <ac:chgData name="vonWaldow, Ulrich" userId="c64b3fe1-2fbf-4408-adc4-30add62e991f" providerId="ADAL" clId="{B99A90B8-7D29-4456-AFD4-0F3DBA13A596}" dt="2024-08-26T12:00:35.072" v="33615"/>
          <ac:spMkLst>
            <pc:docMk/>
            <pc:sldMk cId="1822909178" sldId="1663"/>
            <ac:spMk id="14" creationId="{97A21446-11C7-A289-6E1E-D38B142C5CFE}"/>
          </ac:spMkLst>
        </pc:spChg>
        <pc:spChg chg="add">
          <ac:chgData name="vonWaldow, Ulrich" userId="c64b3fe1-2fbf-4408-adc4-30add62e991f" providerId="ADAL" clId="{B99A90B8-7D29-4456-AFD4-0F3DBA13A596}" dt="2024-08-26T12:00:55.732" v="33622"/>
          <ac:spMkLst>
            <pc:docMk/>
            <pc:sldMk cId="1822909178" sldId="1663"/>
            <ac:spMk id="15" creationId="{841D724A-F6DC-021F-480D-0F194AC4F03E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7" creationId="{F0C83161-564B-5373-D2A4-1DC8B1D3F7CD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8" creationId="{5694800F-9C7F-6A6D-3396-511813FDC6E6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9" creationId="{D3A64C58-8FFA-E107-B692-6215CF0257E5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1" creationId="{0097992F-3F49-01B8-2D07-8B603FE7E823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4" creationId="{C01776D6-6DAA-AE16-04AF-05E3BF28D4A1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5" creationId="{C0F794AA-F9EF-50C9-D65C-E2AE076788B8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7" creationId="{79EB719E-E0A4-0DB1-F47F-47F9DC778C9A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8" creationId="{02DA35CA-A9A2-8799-A3B4-D21EB1371626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0" creationId="{99FE6A30-A72D-96C0-0B71-D51507169EE6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1" creationId="{13BBD894-039D-FF09-A3FC-02E7B45CA46B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6" creationId="{4F71C87C-FDED-3136-2634-3224FE16C3F3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8" creationId="{35126B22-605C-7C3F-FE6F-04EE8AEA057C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40" creationId="{4E149F5B-988F-A75C-8B2D-6CADE498DCEB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44" creationId="{B6A2C087-1485-A8AE-E1F8-2F7A69EFBC6E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57" creationId="{BB335E22-1C10-FE4A-8951-A3674C80A48A}"/>
          </ac:spMkLst>
        </pc:spChg>
        <pc:spChg chg="mod ord">
          <ac:chgData name="vonWaldow, Ulrich" userId="c64b3fe1-2fbf-4408-adc4-30add62e991f" providerId="ADAL" clId="{B99A90B8-7D29-4456-AFD4-0F3DBA13A596}" dt="2024-08-26T12:05:10.421" v="33852" actId="20577"/>
          <ac:spMkLst>
            <pc:docMk/>
            <pc:sldMk cId="1822909178" sldId="1663"/>
            <ac:spMk id="58" creationId="{DAC260A8-3765-C687-3ED9-E80D8A9CAC15}"/>
          </ac:spMkLst>
        </pc:spChg>
        <pc:grpChg chg="add del mod">
          <ac:chgData name="vonWaldow, Ulrich" userId="c64b3fe1-2fbf-4408-adc4-30add62e991f" providerId="ADAL" clId="{B99A90B8-7D29-4456-AFD4-0F3DBA13A596}" dt="2024-08-26T12:01:38.211" v="33636" actId="478"/>
          <ac:grpSpMkLst>
            <pc:docMk/>
            <pc:sldMk cId="1822909178" sldId="1663"/>
            <ac:grpSpMk id="16" creationId="{09F41782-78EE-0971-5F0E-3450AD5F90B8}"/>
          </ac:grpSpMkLst>
        </pc:grpChg>
        <pc:grpChg chg="add del mod">
          <ac:chgData name="vonWaldow, Ulrich" userId="c64b3fe1-2fbf-4408-adc4-30add62e991f" providerId="ADAL" clId="{B99A90B8-7D29-4456-AFD4-0F3DBA13A596}" dt="2024-08-26T12:02:53.654" v="33640" actId="165"/>
          <ac:grpSpMkLst>
            <pc:docMk/>
            <pc:sldMk cId="1822909178" sldId="1663"/>
            <ac:grpSpMk id="34" creationId="{CC3CFE3A-A3A3-C91A-06E3-A639445ADD3F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3" creationId="{DEBBE931-9479-C3D5-0893-7BE569EB1460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5" creationId="{1CEB12F6-5DBA-52DE-666D-DF7DB540427F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6" creationId="{37FAA256-13B4-4CCB-C154-C3D1D4F14A09}"/>
          </ac:grpSpMkLst>
        </pc:grpChg>
        <pc:graphicFrameChg chg="mod">
          <ac:chgData name="vonWaldow, Ulrich" userId="c64b3fe1-2fbf-4408-adc4-30add62e991f" providerId="ADAL" clId="{B99A90B8-7D29-4456-AFD4-0F3DBA13A596}" dt="2024-08-26T12:03:35.976" v="33791"/>
          <ac:graphicFrameMkLst>
            <pc:docMk/>
            <pc:sldMk cId="1822909178" sldId="1663"/>
            <ac:graphicFrameMk id="7" creationId="{CFA9690A-1279-E85F-EA34-9D290346479B}"/>
          </ac:graphicFrameMkLst>
        </pc:graphicFrameChg>
        <pc:picChg chg="mod">
          <ac:chgData name="vonWaldow, Ulrich" userId="c64b3fe1-2fbf-4408-adc4-30add62e991f" providerId="ADAL" clId="{B99A90B8-7D29-4456-AFD4-0F3DBA13A596}" dt="2024-08-26T12:00:59.236" v="33623" actId="571"/>
          <ac:picMkLst>
            <pc:docMk/>
            <pc:sldMk cId="1822909178" sldId="1663"/>
            <ac:picMk id="20" creationId="{77BE4C8F-48E9-7351-A304-B08C39A0F499}"/>
          </ac:picMkLst>
        </pc:picChg>
        <pc:picChg chg="add mod ord">
          <ac:chgData name="vonWaldow, Ulrich" userId="c64b3fe1-2fbf-4408-adc4-30add62e991f" providerId="ADAL" clId="{B99A90B8-7D29-4456-AFD4-0F3DBA13A596}" dt="2024-08-26T12:04:06.793" v="33834"/>
          <ac:picMkLst>
            <pc:docMk/>
            <pc:sldMk cId="1822909178" sldId="1663"/>
            <ac:picMk id="23" creationId="{585C91A7-9A12-880E-79BE-D75D9D26C858}"/>
          </ac:picMkLst>
        </pc:picChg>
        <pc:picChg chg="add mod ord">
          <ac:chgData name="vonWaldow, Ulrich" userId="c64b3fe1-2fbf-4408-adc4-30add62e991f" providerId="ADAL" clId="{B99A90B8-7D29-4456-AFD4-0F3DBA13A596}" dt="2024-08-26T12:04:01.667" v="33822"/>
          <ac:picMkLst>
            <pc:docMk/>
            <pc:sldMk cId="1822909178" sldId="1663"/>
            <ac:picMk id="29" creationId="{C0EB231E-DF09-3160-BDC0-CA7658C00153}"/>
          </ac:picMkLst>
        </pc:picChg>
        <pc:picChg chg="add mod ord">
          <ac:chgData name="vonWaldow, Ulrich" userId="c64b3fe1-2fbf-4408-adc4-30add62e991f" providerId="ADAL" clId="{B99A90B8-7D29-4456-AFD4-0F3DBA13A596}" dt="2024-08-26T12:03:49.564" v="33806"/>
          <ac:picMkLst>
            <pc:docMk/>
            <pc:sldMk cId="1822909178" sldId="1663"/>
            <ac:picMk id="33" creationId="{C438BD32-EF34-284D-9575-9DDAD183A160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48" creationId="{3027B6FC-5194-DF9D-0F85-3438F1EE291A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50" creationId="{287B2AC8-68D8-9131-F23A-87E040FD92BA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52" creationId="{C7895794-96F6-0FA2-EDF7-38BCCEE79FD6}"/>
          </ac:picMkLst>
        </pc:picChg>
      </pc:sldChg>
      <pc:sldChg chg="addSp delSp modSp add mod">
        <pc:chgData name="vonWaldow, Ulrich" userId="c64b3fe1-2fbf-4408-adc4-30add62e991f" providerId="ADAL" clId="{B99A90B8-7D29-4456-AFD4-0F3DBA13A596}" dt="2024-08-26T12:12:13.799" v="34292" actId="113"/>
        <pc:sldMkLst>
          <pc:docMk/>
          <pc:sldMk cId="2643981927" sldId="1664"/>
        </pc:sldMkLst>
        <pc:spChg chg="mod">
          <ac:chgData name="vonWaldow, Ulrich" userId="c64b3fe1-2fbf-4408-adc4-30add62e991f" providerId="ADAL" clId="{B99A90B8-7D29-4456-AFD4-0F3DBA13A596}" dt="2024-08-26T12:06:45.848" v="34160" actId="948"/>
          <ac:spMkLst>
            <pc:docMk/>
            <pc:sldMk cId="2643981927" sldId="1664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2:06:22.692" v="33912"/>
          <ac:spMkLst>
            <pc:docMk/>
            <pc:sldMk cId="2643981927" sldId="1664"/>
            <ac:spMk id="3" creationId="{FF7E8683-C66B-63E9-1BD0-585A43CA5C98}"/>
          </ac:spMkLst>
        </pc:spChg>
        <pc:spChg chg="add del mod modVis">
          <ac:chgData name="vonWaldow, Ulrich" userId="c64b3fe1-2fbf-4408-adc4-30add62e991f" providerId="ADAL" clId="{B99A90B8-7D29-4456-AFD4-0F3DBA13A596}" dt="2024-08-26T12:06:23.859" v="33937"/>
          <ac:spMkLst>
            <pc:docMk/>
            <pc:sldMk cId="2643981927" sldId="1664"/>
            <ac:spMk id="4" creationId="{400BA412-8FC9-DF66-1D78-7F34CEBD88A2}"/>
          </ac:spMkLst>
        </pc:spChg>
        <pc:spChg chg="add del mod modVis">
          <ac:chgData name="vonWaldow, Ulrich" userId="c64b3fe1-2fbf-4408-adc4-30add62e991f" providerId="ADAL" clId="{B99A90B8-7D29-4456-AFD4-0F3DBA13A596}" dt="2024-08-26T12:06:26.196" v="33971"/>
          <ac:spMkLst>
            <pc:docMk/>
            <pc:sldMk cId="2643981927" sldId="1664"/>
            <ac:spMk id="5" creationId="{03E50154-22CC-772C-F8EC-41924AE4EA37}"/>
          </ac:spMkLst>
        </pc:spChg>
        <pc:spChg chg="add del mod modVis">
          <ac:chgData name="vonWaldow, Ulrich" userId="c64b3fe1-2fbf-4408-adc4-30add62e991f" providerId="ADAL" clId="{B99A90B8-7D29-4456-AFD4-0F3DBA13A596}" dt="2024-08-26T12:06:27.404" v="33996"/>
          <ac:spMkLst>
            <pc:docMk/>
            <pc:sldMk cId="2643981927" sldId="1664"/>
            <ac:spMk id="6" creationId="{E1402763-D2FA-BD20-6E25-A1AEF1920247}"/>
          </ac:spMkLst>
        </pc:spChg>
        <pc:spChg chg="add del mod modVis">
          <ac:chgData name="vonWaldow, Ulrich" userId="c64b3fe1-2fbf-4408-adc4-30add62e991f" providerId="ADAL" clId="{B99A90B8-7D29-4456-AFD4-0F3DBA13A596}" dt="2024-08-26T12:06:28.947" v="34028"/>
          <ac:spMkLst>
            <pc:docMk/>
            <pc:sldMk cId="2643981927" sldId="1664"/>
            <ac:spMk id="8" creationId="{FF10484B-9439-2B02-9E06-7884942C1971}"/>
          </ac:spMkLst>
        </pc:spChg>
        <pc:spChg chg="add del mod modVis">
          <ac:chgData name="vonWaldow, Ulrich" userId="c64b3fe1-2fbf-4408-adc4-30add62e991f" providerId="ADAL" clId="{B99A90B8-7D29-4456-AFD4-0F3DBA13A596}" dt="2024-08-26T12:06:39.424" v="34077"/>
          <ac:spMkLst>
            <pc:docMk/>
            <pc:sldMk cId="2643981927" sldId="1664"/>
            <ac:spMk id="9" creationId="{D1B9ED0A-09F4-DB26-FE58-9B900EA9D614}"/>
          </ac:spMkLst>
        </pc:spChg>
        <pc:spChg chg="add del mod modVis">
          <ac:chgData name="vonWaldow, Ulrich" userId="c64b3fe1-2fbf-4408-adc4-30add62e991f" providerId="ADAL" clId="{B99A90B8-7D29-4456-AFD4-0F3DBA13A596}" dt="2024-08-26T12:06:40.429" v="34102"/>
          <ac:spMkLst>
            <pc:docMk/>
            <pc:sldMk cId="2643981927" sldId="1664"/>
            <ac:spMk id="10" creationId="{4A7855D5-EB5F-EFBB-1622-C1C058C605D1}"/>
          </ac:spMkLst>
        </pc:spChg>
        <pc:spChg chg="add del mod modVis">
          <ac:chgData name="vonWaldow, Ulrich" userId="c64b3fe1-2fbf-4408-adc4-30add62e991f" providerId="ADAL" clId="{B99A90B8-7D29-4456-AFD4-0F3DBA13A596}" dt="2024-08-26T12:06:42.156" v="34127"/>
          <ac:spMkLst>
            <pc:docMk/>
            <pc:sldMk cId="2643981927" sldId="1664"/>
            <ac:spMk id="11" creationId="{47AE72D6-D2D6-81AA-96AE-8D165E062C9F}"/>
          </ac:spMkLst>
        </pc:spChg>
        <pc:spChg chg="add del mod modVis">
          <ac:chgData name="vonWaldow, Ulrich" userId="c64b3fe1-2fbf-4408-adc4-30add62e991f" providerId="ADAL" clId="{B99A90B8-7D29-4456-AFD4-0F3DBA13A596}" dt="2024-08-26T12:06:43.647" v="34156"/>
          <ac:spMkLst>
            <pc:docMk/>
            <pc:sldMk cId="2643981927" sldId="1664"/>
            <ac:spMk id="12" creationId="{EFF5B381-6DA6-A1FF-8841-F0D384E51709}"/>
          </ac:spMkLst>
        </pc:spChg>
        <pc:spChg chg="add del mod modVis">
          <ac:chgData name="vonWaldow, Ulrich" userId="c64b3fe1-2fbf-4408-adc4-30add62e991f" providerId="ADAL" clId="{B99A90B8-7D29-4456-AFD4-0F3DBA13A596}" dt="2024-08-26T12:06:45.864" v="34181"/>
          <ac:spMkLst>
            <pc:docMk/>
            <pc:sldMk cId="2643981927" sldId="1664"/>
            <ac:spMk id="13" creationId="{973D28A4-2ACD-9B96-D7A5-BB7B22D529F4}"/>
          </ac:spMkLst>
        </pc:spChg>
        <pc:spChg chg="add">
          <ac:chgData name="vonWaldow, Ulrich" userId="c64b3fe1-2fbf-4408-adc4-30add62e991f" providerId="ADAL" clId="{B99A90B8-7D29-4456-AFD4-0F3DBA13A596}" dt="2024-08-26T12:07:52.821" v="34196"/>
          <ac:spMkLst>
            <pc:docMk/>
            <pc:sldMk cId="2643981927" sldId="1664"/>
            <ac:spMk id="14" creationId="{5D5ABA5F-EB26-3B39-A622-4C793D8DB8C2}"/>
          </ac:spMkLst>
        </pc:spChg>
        <pc:spChg chg="add">
          <ac:chgData name="vonWaldow, Ulrich" userId="c64b3fe1-2fbf-4408-adc4-30add62e991f" providerId="ADAL" clId="{B99A90B8-7D29-4456-AFD4-0F3DBA13A596}" dt="2024-08-26T12:08:27.343" v="34204"/>
          <ac:spMkLst>
            <pc:docMk/>
            <pc:sldMk cId="2643981927" sldId="1664"/>
            <ac:spMk id="15" creationId="{593305CD-7CD3-3C38-1EB7-87C5B84524AF}"/>
          </ac:spMkLst>
        </pc:spChg>
        <pc:spChg chg="mod">
          <ac:chgData name="vonWaldow, Ulrich" userId="c64b3fe1-2fbf-4408-adc4-30add62e991f" providerId="ADAL" clId="{B99A90B8-7D29-4456-AFD4-0F3DBA13A596}" dt="2024-08-26T12:06:53.599" v="34192" actId="20577"/>
          <ac:spMkLst>
            <pc:docMk/>
            <pc:sldMk cId="2643981927" sldId="1664"/>
            <ac:spMk id="21" creationId="{0097992F-3F49-01B8-2D07-8B603FE7E823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24" creationId="{C01776D6-6DAA-AE16-04AF-05E3BF28D4A1}"/>
          </ac:spMkLst>
        </pc:spChg>
        <pc:spChg chg="add">
          <ac:chgData name="vonWaldow, Ulrich" userId="c64b3fe1-2fbf-4408-adc4-30add62e991f" providerId="ADAL" clId="{B99A90B8-7D29-4456-AFD4-0F3DBA13A596}" dt="2024-08-26T12:11:44.828" v="34281"/>
          <ac:spMkLst>
            <pc:docMk/>
            <pc:sldMk cId="2643981927" sldId="1664"/>
            <ac:spMk id="26" creationId="{14911564-6E72-D0FC-631B-87ECBCFB7172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27" creationId="{79EB719E-E0A4-0DB1-F47F-47F9DC778C9A}"/>
          </ac:spMkLst>
        </pc:spChg>
        <pc:spChg chg="mod">
          <ac:chgData name="vonWaldow, Ulrich" userId="c64b3fe1-2fbf-4408-adc4-30add62e991f" providerId="ADAL" clId="{B99A90B8-7D29-4456-AFD4-0F3DBA13A596}" dt="2024-08-26T12:09:25.956" v="34226"/>
          <ac:spMkLst>
            <pc:docMk/>
            <pc:sldMk cId="2643981927" sldId="1664"/>
            <ac:spMk id="30" creationId="{99FE6A30-A72D-96C0-0B71-D51507169EE6}"/>
          </ac:spMkLst>
        </pc:spChg>
        <pc:spChg chg="add">
          <ac:chgData name="vonWaldow, Ulrich" userId="c64b3fe1-2fbf-4408-adc4-30add62e991f" providerId="ADAL" clId="{B99A90B8-7D29-4456-AFD4-0F3DBA13A596}" dt="2024-08-26T12:11:48.155" v="34283"/>
          <ac:spMkLst>
            <pc:docMk/>
            <pc:sldMk cId="2643981927" sldId="1664"/>
            <ac:spMk id="32" creationId="{5F7B2833-2664-C43C-B530-1640D36CA2A9}"/>
          </ac:spMkLst>
        </pc:spChg>
        <pc:spChg chg="mod">
          <ac:chgData name="vonWaldow, Ulrich" userId="c64b3fe1-2fbf-4408-adc4-30add62e991f" providerId="ADAL" clId="{B99A90B8-7D29-4456-AFD4-0F3DBA13A596}" dt="2024-08-26T12:08:55.331" v="34214" actId="139"/>
          <ac:spMkLst>
            <pc:docMk/>
            <pc:sldMk cId="2643981927" sldId="1664"/>
            <ac:spMk id="36" creationId="{4F71C87C-FDED-3136-2634-3224FE16C3F3}"/>
          </ac:spMkLst>
        </pc:spChg>
        <pc:spChg chg="mod">
          <ac:chgData name="vonWaldow, Ulrich" userId="c64b3fe1-2fbf-4408-adc4-30add62e991f" providerId="ADAL" clId="{B99A90B8-7D29-4456-AFD4-0F3DBA13A596}" dt="2024-08-26T12:08:55.331" v="34214" actId="139"/>
          <ac:spMkLst>
            <pc:docMk/>
            <pc:sldMk cId="2643981927" sldId="1664"/>
            <ac:spMk id="38" creationId="{35126B22-605C-7C3F-FE6F-04EE8AEA057C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40" creationId="{4E149F5B-988F-A75C-8B2D-6CADE498DCEB}"/>
          </ac:spMkLst>
        </pc:spChg>
        <pc:spChg chg="mod">
          <ac:chgData name="vonWaldow, Ulrich" userId="c64b3fe1-2fbf-4408-adc4-30add62e991f" providerId="ADAL" clId="{B99A90B8-7D29-4456-AFD4-0F3DBA13A596}" dt="2024-08-26T12:12:13.799" v="34292" actId="113"/>
          <ac:spMkLst>
            <pc:docMk/>
            <pc:sldMk cId="2643981927" sldId="1664"/>
            <ac:spMk id="58" creationId="{DAC260A8-3765-C687-3ED9-E80D8A9CAC15}"/>
          </ac:spMkLst>
        </pc:spChg>
        <pc:graphicFrameChg chg="mod">
          <ac:chgData name="vonWaldow, Ulrich" userId="c64b3fe1-2fbf-4408-adc4-30add62e991f" providerId="ADAL" clId="{B99A90B8-7D29-4456-AFD4-0F3DBA13A596}" dt="2024-08-26T12:06:45.864" v="34183"/>
          <ac:graphicFrameMkLst>
            <pc:docMk/>
            <pc:sldMk cId="2643981927" sldId="1664"/>
            <ac:graphicFrameMk id="7" creationId="{CFA9690A-1279-E85F-EA34-9D290346479B}"/>
          </ac:graphicFrameMkLst>
        </pc:graphicFrameChg>
        <pc:picChg chg="add mod ord">
          <ac:chgData name="vonWaldow, Ulrich" userId="c64b3fe1-2fbf-4408-adc4-30add62e991f" providerId="ADAL" clId="{B99A90B8-7D29-4456-AFD4-0F3DBA13A596}" dt="2024-08-26T12:10:50.354" v="34279"/>
          <ac:picMkLst>
            <pc:docMk/>
            <pc:sldMk cId="2643981927" sldId="1664"/>
            <ac:picMk id="17" creationId="{4D3CBFAC-6D15-517F-06AD-112B9430CD5F}"/>
          </ac:picMkLst>
        </pc:picChg>
        <pc:picChg chg="add mod ord">
          <ac:chgData name="vonWaldow, Ulrich" userId="c64b3fe1-2fbf-4408-adc4-30add62e991f" providerId="ADAL" clId="{B99A90B8-7D29-4456-AFD4-0F3DBA13A596}" dt="2024-08-26T12:10:47.399" v="34266"/>
          <ac:picMkLst>
            <pc:docMk/>
            <pc:sldMk cId="2643981927" sldId="1664"/>
            <ac:picMk id="19" creationId="{9E85F2AD-77DE-2083-4F91-9EE713487509}"/>
          </ac:picMkLst>
        </pc:picChg>
        <pc:picChg chg="add mod ord">
          <ac:chgData name="vonWaldow, Ulrich" userId="c64b3fe1-2fbf-4408-adc4-30add62e991f" providerId="ADAL" clId="{B99A90B8-7D29-4456-AFD4-0F3DBA13A596}" dt="2024-08-26T12:10:41.917" v="34246"/>
          <ac:picMkLst>
            <pc:docMk/>
            <pc:sldMk cId="2643981927" sldId="1664"/>
            <ac:picMk id="22" creationId="{3E96E901-F806-C96A-B4DE-38CEF3EAA849}"/>
          </ac:picMkLst>
        </pc:picChg>
        <pc:picChg chg="del mod">
          <ac:chgData name="vonWaldow, Ulrich" userId="c64b3fe1-2fbf-4408-adc4-30add62e991f" providerId="ADAL" clId="{B99A90B8-7D29-4456-AFD4-0F3DBA13A596}" dt="2024-08-26T12:10:52.359" v="34280" actId="478"/>
          <ac:picMkLst>
            <pc:docMk/>
            <pc:sldMk cId="2643981927" sldId="1664"/>
            <ac:picMk id="23" creationId="{585C91A7-9A12-880E-79BE-D75D9D26C858}"/>
          </ac:picMkLst>
        </pc:picChg>
        <pc:picChg chg="del mod ord">
          <ac:chgData name="vonWaldow, Ulrich" userId="c64b3fe1-2fbf-4408-adc4-30add62e991f" providerId="ADAL" clId="{B99A90B8-7D29-4456-AFD4-0F3DBA13A596}" dt="2024-08-26T12:10:52.359" v="34280" actId="478"/>
          <ac:picMkLst>
            <pc:docMk/>
            <pc:sldMk cId="2643981927" sldId="1664"/>
            <ac:picMk id="29" creationId="{C0EB231E-DF09-3160-BDC0-CA7658C00153}"/>
          </ac:picMkLst>
        </pc:picChg>
        <pc:picChg chg="del mod ord">
          <ac:chgData name="vonWaldow, Ulrich" userId="c64b3fe1-2fbf-4408-adc4-30add62e991f" providerId="ADAL" clId="{B99A90B8-7D29-4456-AFD4-0F3DBA13A596}" dt="2024-08-26T12:10:44.666" v="34252" actId="478"/>
          <ac:picMkLst>
            <pc:docMk/>
            <pc:sldMk cId="2643981927" sldId="1664"/>
            <ac:picMk id="33" creationId="{C438BD32-EF34-284D-9575-9DDAD183A160}"/>
          </ac:picMkLst>
        </pc:picChg>
      </pc:sldChg>
      <pc:sldChg chg="addSp delSp modSp new mod">
        <pc:chgData name="vonWaldow, Ulrich" userId="c64b3fe1-2fbf-4408-adc4-30add62e991f" providerId="ADAL" clId="{B99A90B8-7D29-4456-AFD4-0F3DBA13A596}" dt="2024-09-03T12:07:13.147" v="111248"/>
        <pc:sldMkLst>
          <pc:docMk/>
          <pc:sldMk cId="1466490359" sldId="1665"/>
        </pc:sldMkLst>
        <pc:spChg chg="mod">
          <ac:chgData name="vonWaldow, Ulrich" userId="c64b3fe1-2fbf-4408-adc4-30add62e991f" providerId="ADAL" clId="{B99A90B8-7D29-4456-AFD4-0F3DBA13A596}" dt="2024-08-26T14:19:19.355" v="35258" actId="790"/>
          <ac:spMkLst>
            <pc:docMk/>
            <pc:sldMk cId="1466490359" sldId="1665"/>
            <ac:spMk id="2" creationId="{182DFA71-AFC6-24BE-F9C5-02E83015EB42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466490359" sldId="1665"/>
            <ac:spMk id="3" creationId="{F1808703-A8D3-E538-B86D-803AD8D9398A}"/>
          </ac:spMkLst>
        </pc:spChg>
        <pc:spChg chg="add mod">
          <ac:chgData name="vonWaldow, Ulrich" userId="c64b3fe1-2fbf-4408-adc4-30add62e991f" providerId="ADAL" clId="{B99A90B8-7D29-4456-AFD4-0F3DBA13A596}" dt="2024-08-26T14:19:19.355" v="35260" actId="790"/>
          <ac:spMkLst>
            <pc:docMk/>
            <pc:sldMk cId="1466490359" sldId="1665"/>
            <ac:spMk id="4" creationId="{BE76F96B-5B3A-7C22-0DC1-77B7992E7AE6}"/>
          </ac:spMkLst>
        </pc:spChg>
        <pc:spChg chg="add mod">
          <ac:chgData name="vonWaldow, Ulrich" userId="c64b3fe1-2fbf-4408-adc4-30add62e991f" providerId="ADAL" clId="{B99A90B8-7D29-4456-AFD4-0F3DBA13A596}" dt="2024-08-26T14:19:19.355" v="35261" actId="790"/>
          <ac:spMkLst>
            <pc:docMk/>
            <pc:sldMk cId="1466490359" sldId="1665"/>
            <ac:spMk id="5" creationId="{52FD7CF0-D226-6179-CB80-EFB8FAE43B31}"/>
          </ac:spMkLst>
        </pc:spChg>
        <pc:spChg chg="add mod">
          <ac:chgData name="vonWaldow, Ulrich" userId="c64b3fe1-2fbf-4408-adc4-30add62e991f" providerId="ADAL" clId="{B99A90B8-7D29-4456-AFD4-0F3DBA13A596}" dt="2024-08-26T14:19:19.355" v="35262" actId="790"/>
          <ac:spMkLst>
            <pc:docMk/>
            <pc:sldMk cId="1466490359" sldId="1665"/>
            <ac:spMk id="6" creationId="{F07DBFBC-B10F-A8AB-DE1F-E51E9FB450A2}"/>
          </ac:spMkLst>
        </pc:spChg>
        <pc:spChg chg="add mod">
          <ac:chgData name="vonWaldow, Ulrich" userId="c64b3fe1-2fbf-4408-adc4-30add62e991f" providerId="ADAL" clId="{B99A90B8-7D29-4456-AFD4-0F3DBA13A596}" dt="2024-08-26T14:19:19.355" v="35263" actId="790"/>
          <ac:spMkLst>
            <pc:docMk/>
            <pc:sldMk cId="1466490359" sldId="1665"/>
            <ac:spMk id="7" creationId="{C325B549-E84E-5FB0-6737-2AC2AB969450}"/>
          </ac:spMkLst>
        </pc:spChg>
        <pc:spChg chg="add mod">
          <ac:chgData name="vonWaldow, Ulrich" userId="c64b3fe1-2fbf-4408-adc4-30add62e991f" providerId="ADAL" clId="{B99A90B8-7D29-4456-AFD4-0F3DBA13A596}" dt="2024-08-26T14:19:19.355" v="35264" actId="790"/>
          <ac:spMkLst>
            <pc:docMk/>
            <pc:sldMk cId="1466490359" sldId="1665"/>
            <ac:spMk id="8" creationId="{53C6B452-5F7F-C09A-C63F-8ACA656F8BA1}"/>
          </ac:spMkLst>
        </pc:spChg>
        <pc:spChg chg="add mod">
          <ac:chgData name="vonWaldow, Ulrich" userId="c64b3fe1-2fbf-4408-adc4-30add62e991f" providerId="ADAL" clId="{B99A90B8-7D29-4456-AFD4-0F3DBA13A596}" dt="2024-08-26T14:19:19.355" v="35265" actId="790"/>
          <ac:spMkLst>
            <pc:docMk/>
            <pc:sldMk cId="1466490359" sldId="1665"/>
            <ac:spMk id="24" creationId="{EF806834-2336-994C-454E-C0BFFC5B6C77}"/>
          </ac:spMkLst>
        </pc:spChg>
        <pc:spChg chg="add mod">
          <ac:chgData name="vonWaldow, Ulrich" userId="c64b3fe1-2fbf-4408-adc4-30add62e991f" providerId="ADAL" clId="{B99A90B8-7D29-4456-AFD4-0F3DBA13A596}" dt="2024-08-26T14:19:19.355" v="35266" actId="790"/>
          <ac:spMkLst>
            <pc:docMk/>
            <pc:sldMk cId="1466490359" sldId="1665"/>
            <ac:spMk id="25" creationId="{3CDE5E69-C90F-B205-A27B-9EC84B7435BF}"/>
          </ac:spMkLst>
        </pc:spChg>
        <pc:spChg chg="add mod">
          <ac:chgData name="vonWaldow, Ulrich" userId="c64b3fe1-2fbf-4408-adc4-30add62e991f" providerId="ADAL" clId="{B99A90B8-7D29-4456-AFD4-0F3DBA13A596}" dt="2024-08-26T14:19:19.355" v="35267" actId="790"/>
          <ac:spMkLst>
            <pc:docMk/>
            <pc:sldMk cId="1466490359" sldId="1665"/>
            <ac:spMk id="26" creationId="{5E5BF099-D15A-F062-27EF-C413BAEFEB84}"/>
          </ac:spMkLst>
        </pc:spChg>
        <pc:spChg chg="add mod">
          <ac:chgData name="vonWaldow, Ulrich" userId="c64b3fe1-2fbf-4408-adc4-30add62e991f" providerId="ADAL" clId="{B99A90B8-7D29-4456-AFD4-0F3DBA13A596}" dt="2024-08-26T14:19:19.371" v="35268" actId="790"/>
          <ac:spMkLst>
            <pc:docMk/>
            <pc:sldMk cId="1466490359" sldId="1665"/>
            <ac:spMk id="27" creationId="{7C358275-F66B-82FB-1D16-FFA242FA1AD2}"/>
          </ac:spMkLst>
        </pc:spChg>
        <pc:spChg chg="add mod">
          <ac:chgData name="vonWaldow, Ulrich" userId="c64b3fe1-2fbf-4408-adc4-30add62e991f" providerId="ADAL" clId="{B99A90B8-7D29-4456-AFD4-0F3DBA13A596}" dt="2024-08-26T14:19:19.371" v="35269" actId="790"/>
          <ac:spMkLst>
            <pc:docMk/>
            <pc:sldMk cId="1466490359" sldId="1665"/>
            <ac:spMk id="29" creationId="{A5A7D72A-A49D-48BF-F918-3AC5DB85542A}"/>
          </ac:spMkLst>
        </pc:spChg>
        <pc:spChg chg="add mod">
          <ac:chgData name="vonWaldow, Ulrich" userId="c64b3fe1-2fbf-4408-adc4-30add62e991f" providerId="ADAL" clId="{B99A90B8-7D29-4456-AFD4-0F3DBA13A596}" dt="2024-08-26T14:19:19.371" v="35270" actId="790"/>
          <ac:spMkLst>
            <pc:docMk/>
            <pc:sldMk cId="1466490359" sldId="1665"/>
            <ac:spMk id="31" creationId="{14F6EDB1-01F8-46FF-FB2D-ADFC38C071F9}"/>
          </ac:spMkLst>
        </pc:spChg>
        <pc:spChg chg="add mod">
          <ac:chgData name="vonWaldow, Ulrich" userId="c64b3fe1-2fbf-4408-adc4-30add62e991f" providerId="ADAL" clId="{B99A90B8-7D29-4456-AFD4-0F3DBA13A596}" dt="2024-08-26T14:19:19.371" v="35271" actId="790"/>
          <ac:spMkLst>
            <pc:docMk/>
            <pc:sldMk cId="1466490359" sldId="1665"/>
            <ac:spMk id="32" creationId="{BC32E1B7-3494-11FF-90C7-4780DD78BCD6}"/>
          </ac:spMkLst>
        </pc:spChg>
        <pc:spChg chg="add mod">
          <ac:chgData name="vonWaldow, Ulrich" userId="c64b3fe1-2fbf-4408-adc4-30add62e991f" providerId="ADAL" clId="{B99A90B8-7D29-4456-AFD4-0F3DBA13A596}" dt="2024-08-26T14:19:19.371" v="35272" actId="790"/>
          <ac:spMkLst>
            <pc:docMk/>
            <pc:sldMk cId="1466490359" sldId="1665"/>
            <ac:spMk id="33" creationId="{E8744D5E-7549-69B0-6386-9106CFFA8920}"/>
          </ac:spMkLst>
        </pc:spChg>
        <pc:spChg chg="add mod">
          <ac:chgData name="vonWaldow, Ulrich" userId="c64b3fe1-2fbf-4408-adc4-30add62e991f" providerId="ADAL" clId="{B99A90B8-7D29-4456-AFD4-0F3DBA13A596}" dt="2024-08-26T14:19:19.371" v="35273" actId="790"/>
          <ac:spMkLst>
            <pc:docMk/>
            <pc:sldMk cId="1466490359" sldId="1665"/>
            <ac:spMk id="34" creationId="{42569D85-8B7A-3A42-1358-BE3E8E03E1BF}"/>
          </ac:spMkLst>
        </pc:spChg>
        <pc:spChg chg="add mod">
          <ac:chgData name="vonWaldow, Ulrich" userId="c64b3fe1-2fbf-4408-adc4-30add62e991f" providerId="ADAL" clId="{B99A90B8-7D29-4456-AFD4-0F3DBA13A596}" dt="2024-08-26T14:19:19.371" v="35274" actId="790"/>
          <ac:spMkLst>
            <pc:docMk/>
            <pc:sldMk cId="1466490359" sldId="1665"/>
            <ac:spMk id="54" creationId="{2FF15173-87E5-0C44-123F-B1B2E4D18991}"/>
          </ac:spMkLst>
        </pc:spChg>
        <pc:spChg chg="add del mod modVis">
          <ac:chgData name="vonWaldow, Ulrich" userId="c64b3fe1-2fbf-4408-adc4-30add62e991f" providerId="ADAL" clId="{B99A90B8-7D29-4456-AFD4-0F3DBA13A596}" dt="2024-08-26T14:15:11.697" v="34935"/>
          <ac:spMkLst>
            <pc:docMk/>
            <pc:sldMk cId="1466490359" sldId="1665"/>
            <ac:spMk id="55" creationId="{F24B8610-3237-E13F-3AC4-5821F173275E}"/>
          </ac:spMkLst>
        </pc:spChg>
        <pc:spChg chg="add del mod modVis">
          <ac:chgData name="vonWaldow, Ulrich" userId="c64b3fe1-2fbf-4408-adc4-30add62e991f" providerId="ADAL" clId="{B99A90B8-7D29-4456-AFD4-0F3DBA13A596}" dt="2024-08-26T14:15:13.374" v="34973"/>
          <ac:spMkLst>
            <pc:docMk/>
            <pc:sldMk cId="1466490359" sldId="1665"/>
            <ac:spMk id="57" creationId="{0F46A0D2-479C-A2FF-A76C-002FED288E46}"/>
          </ac:spMkLst>
        </pc:spChg>
        <pc:spChg chg="add del mod modVis">
          <ac:chgData name="vonWaldow, Ulrich" userId="c64b3fe1-2fbf-4408-adc4-30add62e991f" providerId="ADAL" clId="{B99A90B8-7D29-4456-AFD4-0F3DBA13A596}" dt="2024-08-26T14:15:23.701" v="34998"/>
          <ac:spMkLst>
            <pc:docMk/>
            <pc:sldMk cId="1466490359" sldId="1665"/>
            <ac:spMk id="58" creationId="{17A93CB5-AA08-E73C-2DEF-5C022918CFA9}"/>
          </ac:spMkLst>
        </pc:spChg>
        <pc:spChg chg="add del mod modVis">
          <ac:chgData name="vonWaldow, Ulrich" userId="c64b3fe1-2fbf-4408-adc4-30add62e991f" providerId="ADAL" clId="{B99A90B8-7D29-4456-AFD4-0F3DBA13A596}" dt="2024-08-26T14:15:25.037" v="35027"/>
          <ac:spMkLst>
            <pc:docMk/>
            <pc:sldMk cId="1466490359" sldId="1665"/>
            <ac:spMk id="59" creationId="{D9B59894-B215-EB47-A1FC-C22D1BD660DA}"/>
          </ac:spMkLst>
        </pc:spChg>
        <pc:spChg chg="add del mod modVis">
          <ac:chgData name="vonWaldow, Ulrich" userId="c64b3fe1-2fbf-4408-adc4-30add62e991f" providerId="ADAL" clId="{B99A90B8-7D29-4456-AFD4-0F3DBA13A596}" dt="2024-08-26T14:18:35.579" v="35063"/>
          <ac:spMkLst>
            <pc:docMk/>
            <pc:sldMk cId="1466490359" sldId="1665"/>
            <ac:spMk id="60" creationId="{2E945F63-A04E-502E-8EA2-EB1B5EF1219C}"/>
          </ac:spMkLst>
        </pc:spChg>
        <pc:spChg chg="add del mod modVis">
          <ac:chgData name="vonWaldow, Ulrich" userId="c64b3fe1-2fbf-4408-adc4-30add62e991f" providerId="ADAL" clId="{B99A90B8-7D29-4456-AFD4-0F3DBA13A596}" dt="2024-08-26T14:18:41.947" v="35092"/>
          <ac:spMkLst>
            <pc:docMk/>
            <pc:sldMk cId="1466490359" sldId="1665"/>
            <ac:spMk id="61" creationId="{79862189-C7B2-C0D8-0CFA-F38F82674A1A}"/>
          </ac:spMkLst>
        </pc:spChg>
        <pc:spChg chg="add del mod modVis">
          <ac:chgData name="vonWaldow, Ulrich" userId="c64b3fe1-2fbf-4408-adc4-30add62e991f" providerId="ADAL" clId="{B99A90B8-7D29-4456-AFD4-0F3DBA13A596}" dt="2024-08-26T14:18:42.594" v="35117"/>
          <ac:spMkLst>
            <pc:docMk/>
            <pc:sldMk cId="1466490359" sldId="1665"/>
            <ac:spMk id="62" creationId="{09C1F1AE-3869-7BE5-1DAD-8E6ABE866537}"/>
          </ac:spMkLst>
        </pc:spChg>
        <pc:spChg chg="add del mod modVis">
          <ac:chgData name="vonWaldow, Ulrich" userId="c64b3fe1-2fbf-4408-adc4-30add62e991f" providerId="ADAL" clId="{B99A90B8-7D29-4456-AFD4-0F3DBA13A596}" dt="2024-08-26T14:18:54.443" v="35148"/>
          <ac:spMkLst>
            <pc:docMk/>
            <pc:sldMk cId="1466490359" sldId="1665"/>
            <ac:spMk id="63" creationId="{71D974E4-E19B-AF95-A543-8CF775D15F66}"/>
          </ac:spMkLst>
        </pc:spChg>
        <pc:spChg chg="add del mod modVis">
          <ac:chgData name="vonWaldow, Ulrich" userId="c64b3fe1-2fbf-4408-adc4-30add62e991f" providerId="ADAL" clId="{B99A90B8-7D29-4456-AFD4-0F3DBA13A596}" dt="2024-08-26T14:18:56.712" v="35174"/>
          <ac:spMkLst>
            <pc:docMk/>
            <pc:sldMk cId="1466490359" sldId="1665"/>
            <ac:spMk id="10240" creationId="{49D99309-72D3-FEA8-6AF6-7DF1496D7860}"/>
          </ac:spMkLst>
        </pc:spChg>
        <pc:spChg chg="add del mod modVis">
          <ac:chgData name="vonWaldow, Ulrich" userId="c64b3fe1-2fbf-4408-adc4-30add62e991f" providerId="ADAL" clId="{B99A90B8-7D29-4456-AFD4-0F3DBA13A596}" dt="2024-08-26T14:19:00.292" v="35208"/>
          <ac:spMkLst>
            <pc:docMk/>
            <pc:sldMk cId="1466490359" sldId="1665"/>
            <ac:spMk id="10241" creationId="{39F2794B-26B4-B417-5E87-45CFC477E610}"/>
          </ac:spMkLst>
        </pc:spChg>
        <pc:spChg chg="add del mod modVis">
          <ac:chgData name="vonWaldow, Ulrich" userId="c64b3fe1-2fbf-4408-adc4-30add62e991f" providerId="ADAL" clId="{B99A90B8-7D29-4456-AFD4-0F3DBA13A596}" dt="2024-08-26T14:19:01.216" v="35234"/>
          <ac:spMkLst>
            <pc:docMk/>
            <pc:sldMk cId="1466490359" sldId="1665"/>
            <ac:spMk id="10243" creationId="{E25A095F-58C6-DD39-20B2-E12271EC7AB9}"/>
          </ac:spMkLst>
        </pc:spChg>
        <pc:grpChg chg="add mod">
          <ac:chgData name="vonWaldow, Ulrich" userId="c64b3fe1-2fbf-4408-adc4-30add62e991f" providerId="ADAL" clId="{B99A90B8-7D29-4456-AFD4-0F3DBA13A596}" dt="2024-08-26T14:19:16.918" v="35257" actId="1035"/>
          <ac:grpSpMkLst>
            <pc:docMk/>
            <pc:sldMk cId="1466490359" sldId="1665"/>
            <ac:grpSpMk id="10244" creationId="{98E3ACA7-442C-D2B5-E49B-201C646E8FAC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4:19:01.216" v="35236"/>
          <ac:graphicFrameMkLst>
            <pc:docMk/>
            <pc:sldMk cId="1466490359" sldId="1665"/>
            <ac:graphicFrameMk id="56" creationId="{1305CA68-2EFF-FD73-B896-13F54BF3D35C}"/>
          </ac:graphicFrameMkLst>
        </pc:graphicFrameChg>
        <pc:picChg chg="add del mod">
          <ac:chgData name="vonWaldow, Ulrich" userId="c64b3fe1-2fbf-4408-adc4-30add62e991f" providerId="ADAL" clId="{B99A90B8-7D29-4456-AFD4-0F3DBA13A596}" dt="2024-08-26T14:19:21.649" v="35275" actId="478"/>
          <ac:picMkLst>
            <pc:docMk/>
            <pc:sldMk cId="1466490359" sldId="1665"/>
            <ac:picMk id="10242" creationId="{D7752DC1-31E0-1587-97DD-F71C2586A4C8}"/>
          </ac:picMkLst>
        </pc:pic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0" creationId="{E5D83BC0-0168-1CC6-66BE-A8B9084FE9EC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2" creationId="{289E72BA-854D-6DA5-D729-A77D577F8082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5" creationId="{7BF90872-854D-7AC1-9211-0C1BACF1997C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8" creationId="{48009663-8B7B-982D-F8CB-93B9EE3D5E9F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21" creationId="{42127EF8-0068-701D-F263-544464B52F2E}"/>
          </ac:cxnSpMkLst>
        </pc:cxnChg>
        <pc:cxnChg chg="add del mod">
          <ac:chgData name="vonWaldow, Ulrich" userId="c64b3fe1-2fbf-4408-adc4-30add62e991f" providerId="ADAL" clId="{B99A90B8-7D29-4456-AFD4-0F3DBA13A596}" dt="2024-08-26T14:10:28.305" v="34784" actId="478"/>
          <ac:cxnSpMkLst>
            <pc:docMk/>
            <pc:sldMk cId="1466490359" sldId="1665"/>
            <ac:cxnSpMk id="35" creationId="{DD932942-5FA7-CDC2-36B2-D95BECC45EE5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37" creationId="{0817CA62-5303-8604-723A-E2D0A57A5C3E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38" creationId="{19C9A28A-1F1C-F273-E44E-E70991F2AF08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46" creationId="{BE9BD61C-69B7-C879-E63C-AA828DC1C0F6}"/>
          </ac:cxnSpMkLst>
        </pc:cxnChg>
        <pc:cxnChg chg="add del mod">
          <ac:chgData name="vonWaldow, Ulrich" userId="c64b3fe1-2fbf-4408-adc4-30add62e991f" providerId="ADAL" clId="{B99A90B8-7D29-4456-AFD4-0F3DBA13A596}" dt="2024-08-26T14:11:36.656" v="34803" actId="478"/>
          <ac:cxnSpMkLst>
            <pc:docMk/>
            <pc:sldMk cId="1466490359" sldId="1665"/>
            <ac:cxnSpMk id="49" creationId="{3795B33C-9C85-883C-BAC5-9EB08C9E9096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1" creationId="{AE24E211-92EC-42B7-8023-92FB6DA4E796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2" creationId="{2EA16C52-A21C-995F-0924-15BD9C75B7C9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3" creationId="{18D34731-E618-E1F9-0FA2-619DB21EB2A7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275079210" sldId="166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275079210" sldId="1666"/>
            <ac:spMk id="3" creationId="{C5EF9B7B-B3E4-70C1-AAEB-F68D5A31EC3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32154156" sldId="16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32154156" sldId="1667"/>
            <ac:spMk id="3" creationId="{48016FBD-9925-A5ED-00D9-5E281F7DBDB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42946152" sldId="166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42946152" sldId="1668"/>
            <ac:spMk id="3" creationId="{2DEC2DCB-34FF-D827-984F-DE4542CAC18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42946152" sldId="1668"/>
            <ac:spMk id="12" creationId="{1899AE64-386C-3D1C-2A72-AE3951376BF7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7:13.751" v="111325"/>
        <pc:sldMkLst>
          <pc:docMk/>
          <pc:sldMk cId="2177808943" sldId="1669"/>
        </pc:sldMkLst>
        <pc:spChg chg="mod">
          <ac:chgData name="vonWaldow, Ulrich" userId="c64b3fe1-2fbf-4408-adc4-30add62e991f" providerId="ADAL" clId="{B99A90B8-7D29-4456-AFD4-0F3DBA13A596}" dt="2024-09-03T12:07:13.683" v="111267" actId="948"/>
          <ac:spMkLst>
            <pc:docMk/>
            <pc:sldMk cId="2177808943" sldId="1669"/>
            <ac:spMk id="2" creationId="{CA932A99-526F-6C59-E649-A35F89A60A99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177808943" sldId="1669"/>
            <ac:spMk id="3" creationId="{9D569119-6BD5-14BE-672B-1BDD33CB70A8}"/>
          </ac:spMkLst>
        </pc:spChg>
        <pc:spChg chg="add del mod modVis">
          <ac:chgData name="vonWaldow, Ulrich" userId="c64b3fe1-2fbf-4408-adc4-30add62e991f" providerId="ADAL" clId="{B99A90B8-7D29-4456-AFD4-0F3DBA13A596}" dt="2024-09-03T12:07:13.724" v="111310"/>
          <ac:spMkLst>
            <pc:docMk/>
            <pc:sldMk cId="2177808943" sldId="1669"/>
            <ac:spMk id="7" creationId="{E7C254D1-3178-6508-0C32-6705ABD8D961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7:13.751" v="111325"/>
          <ac:graphicFrameMkLst>
            <pc:docMk/>
            <pc:sldMk cId="2177808943" sldId="1669"/>
            <ac:graphicFrameMk id="22" creationId="{AB2DDD52-6999-5518-9792-12BF6296A65F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228959822" sldId="167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228959822" sldId="1670"/>
            <ac:spMk id="3" creationId="{B435378E-15BE-9371-0E5C-0065DEF28655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946988612" sldId="2581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46988612" sldId="2581"/>
            <ac:spMk id="67" creationId="{3E3B4D2A-068C-F8A9-96D2-71686E27334D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7:44:04.887" v="105518"/>
        <pc:sldMkLst>
          <pc:docMk/>
          <pc:sldMk cId="3316705217" sldId="574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16705217" sldId="5748"/>
            <ac:spMk id="3" creationId="{F64C2E89-EA32-5F08-F26F-B55889E589E8}"/>
          </ac:spMkLst>
        </pc:spChg>
        <pc:spChg chg="add mod">
          <ac:chgData name="vonWaldow, Ulrich" userId="c64b3fe1-2fbf-4408-adc4-30add62e991f" providerId="ADAL" clId="{B99A90B8-7D29-4456-AFD4-0F3DBA13A596}" dt="2024-08-27T13:52:26.254" v="105152"/>
          <ac:spMkLst>
            <pc:docMk/>
            <pc:sldMk cId="3316705217" sldId="5748"/>
            <ac:spMk id="6" creationId="{9F3CC1F3-3B56-F04C-A8EB-88880611A313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5:06.258" v="110451"/>
        <pc:sldMkLst>
          <pc:docMk/>
          <pc:sldMk cId="1825684777" sldId="5751"/>
        </pc:sldMkLst>
        <pc:spChg chg="mod">
          <ac:chgData name="vonWaldow, Ulrich" userId="c64b3fe1-2fbf-4408-adc4-30add62e991f" providerId="ADAL" clId="{B99A90B8-7D29-4456-AFD4-0F3DBA13A596}" dt="2024-09-03T12:04:56.571" v="110418" actId="948"/>
          <ac:spMkLst>
            <pc:docMk/>
            <pc:sldMk cId="1825684777" sldId="5751"/>
            <ac:spMk id="2" creationId="{E4BCF3CE-919C-BDB6-8BAA-6341F1AD6889}"/>
          </ac:spMkLst>
        </pc:spChg>
        <pc:spChg chg="mod">
          <ac:chgData name="vonWaldow, Ulrich" userId="c64b3fe1-2fbf-4408-adc4-30add62e991f" providerId="ADAL" clId="{B99A90B8-7D29-4456-AFD4-0F3DBA13A596}" dt="2024-09-03T12:05:06.258" v="110451"/>
          <ac:spMkLst>
            <pc:docMk/>
            <pc:sldMk cId="1825684777" sldId="5751"/>
            <ac:spMk id="3" creationId="{D1E63549-014B-7924-D534-51E83A0FDB99}"/>
          </ac:spMkLst>
        </pc:spChg>
        <pc:spChg chg="add del mod modVis">
          <ac:chgData name="vonWaldow, Ulrich" userId="c64b3fe1-2fbf-4408-adc4-30add62e991f" providerId="ADAL" clId="{B99A90B8-7D29-4456-AFD4-0F3DBA13A596}" dt="2024-09-03T12:04:55.237" v="110397"/>
          <ac:spMkLst>
            <pc:docMk/>
            <pc:sldMk cId="1825684777" sldId="5751"/>
            <ac:spMk id="5" creationId="{5802555F-7E75-FBCC-DB3F-661FF11F4D6F}"/>
          </ac:spMkLst>
        </pc:spChg>
        <pc:spChg chg="add del mod modVis">
          <ac:chgData name="vonWaldow, Ulrich" userId="c64b3fe1-2fbf-4408-adc4-30add62e991f" providerId="ADAL" clId="{B99A90B8-7D29-4456-AFD4-0F3DBA13A596}" dt="2024-09-03T12:04:56.599" v="110439"/>
          <ac:spMkLst>
            <pc:docMk/>
            <pc:sldMk cId="1825684777" sldId="5751"/>
            <ac:spMk id="7" creationId="{EC794B20-166D-8501-F3CE-640196248215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4:56.601" v="110441"/>
          <ac:graphicFrameMkLst>
            <pc:docMk/>
            <pc:sldMk cId="1825684777" sldId="5751"/>
            <ac:graphicFrameMk id="6" creationId="{AA7CE305-242C-3329-F778-F2B513F06D1F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24.437" v="111665" actId="1582"/>
        <pc:sldMkLst>
          <pc:docMk/>
          <pc:sldMk cId="1849782265" sldId="5753"/>
        </pc:sldMkLst>
        <pc:spChg chg="mod">
          <ac:chgData name="vonWaldow, Ulrich" userId="c64b3fe1-2fbf-4408-adc4-30add62e991f" providerId="ADAL" clId="{B99A90B8-7D29-4456-AFD4-0F3DBA13A596}" dt="2024-09-03T12:12:03.869" v="111627" actId="948"/>
          <ac:spMkLst>
            <pc:docMk/>
            <pc:sldMk cId="1849782265" sldId="5753"/>
            <ac:spMk id="2" creationId="{163A9672-0E62-44E5-3584-EC200C517285}"/>
          </ac:spMkLst>
        </pc:spChg>
        <pc:spChg chg="mod">
          <ac:chgData name="vonWaldow, Ulrich" userId="c64b3fe1-2fbf-4408-adc4-30add62e991f" providerId="ADAL" clId="{B99A90B8-7D29-4456-AFD4-0F3DBA13A596}" dt="2024-09-03T12:11:57.063" v="111621"/>
          <ac:spMkLst>
            <pc:docMk/>
            <pc:sldMk cId="1849782265" sldId="5753"/>
            <ac:spMk id="3" creationId="{49799FCA-35CB-4472-0AA0-C1059AC6B16A}"/>
          </ac:spMkLst>
        </pc:spChg>
        <pc:spChg chg="add del mod modVis">
          <ac:chgData name="vonWaldow, Ulrich" userId="c64b3fe1-2fbf-4408-adc4-30add62e991f" providerId="ADAL" clId="{B99A90B8-7D29-4456-AFD4-0F3DBA13A596}" dt="2024-09-03T12:12:03.892" v="111648"/>
          <ac:spMkLst>
            <pc:docMk/>
            <pc:sldMk cId="1849782265" sldId="5753"/>
            <ac:spMk id="5" creationId="{DE147CC7-2356-BC47-9621-665D38EB2BB9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0" creationId="{C6EDDE84-FE4F-0FCD-BAF6-23A7148DBCAC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1" creationId="{990843DF-A746-905D-692B-C3C7DAB544C8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2" creationId="{E2CA9D55-398D-7369-C7F5-A370F308A319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3" creationId="{C4E33191-F890-E82D-C32C-6CCCD57372AA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4" creationId="{4EBAAFCD-792E-AB4D-C17A-BF0DA0992387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5" creationId="{5B4FC6AA-E9CA-F0A7-C51C-4838BCA72BBF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6" creationId="{689CDF9C-D556-504B-1EEE-731412EDD7A4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7" creationId="{36E9ADE3-2E39-82CF-20FD-A5F4AC7A10CB}"/>
          </ac:spMkLst>
        </pc:spChg>
        <pc:grpChg chg="mod">
          <ac:chgData name="vonWaldow, Ulrich" userId="c64b3fe1-2fbf-4408-adc4-30add62e991f" providerId="ADAL" clId="{B99A90B8-7D29-4456-AFD4-0F3DBA13A596}" dt="2024-09-03T12:12:07.941" v="111664" actId="14100"/>
          <ac:grpSpMkLst>
            <pc:docMk/>
            <pc:sldMk cId="1849782265" sldId="5753"/>
            <ac:grpSpMk id="19" creationId="{E9AA86CE-C68C-1324-216F-C75179AF6495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9-03T12:12:03.915" v="111663"/>
          <ac:graphicFrameMkLst>
            <pc:docMk/>
            <pc:sldMk cId="1849782265" sldId="5753"/>
            <ac:graphicFrameMk id="6" creationId="{E8366FCE-C2A1-E840-8BD2-4771AA16496B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2:27.931" v="111666" actId="1582"/>
        <pc:sldMkLst>
          <pc:docMk/>
          <pc:sldMk cId="2991085001" sldId="5754"/>
        </pc:sldMkLst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5" creationId="{3F66B178-8806-0233-5FD3-64E537DB1CEF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6" creationId="{2A857058-4DCB-B4D1-9B33-B89F7C25745B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7" creationId="{46298701-425C-6CCC-17F3-2179D88C1ECA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8" creationId="{D209B282-A637-D4EF-0F92-FC88609807FC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9" creationId="{33405D57-A9F9-AC87-2DAE-CAC633ABA530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0" creationId="{6431B8D8-76A6-AB41-BBAF-112DF50E386B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1" creationId="{16161735-39FA-6636-B23D-C895126B13A6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2" creationId="{F25E3B1C-9AA0-A027-2632-1D94C65CB7D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0" creationId="{AB940E79-58A2-0AB8-3339-F8B92CE172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1" creationId="{CCAEA8E2-98DD-E4CC-4F97-1DAB5DB709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2" creationId="{DC4B4188-7F94-A590-8B5C-3EC8CB4E46F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3" creationId="{5A7CEA7A-9102-13FC-65C3-DCC5BAC8734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5" creationId="{42D831F4-BCAE-CFFF-9347-EA20F119EDB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6" creationId="{98B62CB1-18FF-7D3E-6EA5-C476677DBE0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7" creationId="{067B103F-C39B-5013-BD30-1D7D281922C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8" creationId="{92D23790-9411-A7FE-661D-5A4451555D8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0" creationId="{46179964-4122-17FA-E91C-E94D2AFFD7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1" creationId="{6F81D332-9868-D398-346D-D67E01F6CC1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3" creationId="{11C7D84C-DF0F-AA44-101F-462F5B71162A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8:03:37.946" v="105569" actId="729"/>
        <pc:sldMkLst>
          <pc:docMk/>
          <pc:sldMk cId="3824128494" sldId="5755"/>
        </pc:sldMkLst>
        <pc:spChg chg="add mod">
          <ac:chgData name="vonWaldow, Ulrich" userId="c64b3fe1-2fbf-4408-adc4-30add62e991f" providerId="ADAL" clId="{B99A90B8-7D29-4456-AFD4-0F3DBA13A596}" dt="2024-08-27T14:14:27.632" v="105504"/>
          <ac:spMkLst>
            <pc:docMk/>
            <pc:sldMk cId="3824128494" sldId="5755"/>
            <ac:spMk id="102" creationId="{877D5B45-B6EE-6BD5-A165-028FFA24B662}"/>
          </ac:spMkLst>
        </pc:spChg>
      </pc:sldChg>
      <pc:sldChg chg="modSp">
        <pc:chgData name="vonWaldow, Ulrich" userId="c64b3fe1-2fbf-4408-adc4-30add62e991f" providerId="ADAL" clId="{B99A90B8-7D29-4456-AFD4-0F3DBA13A596}" dt="2024-09-03T12:13:11.750" v="111759" actId="1076"/>
        <pc:sldMkLst>
          <pc:docMk/>
          <pc:sldMk cId="994914706" sldId="5756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2" creationId="{04461D98-DA3E-0BE0-D830-ED693A4E0760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3" creationId="{568DCD10-0995-550F-2623-964C01C8882A}"/>
          </ac:spMkLst>
        </pc:spChg>
        <pc:spChg chg="mod">
          <ac:chgData name="vonWaldow, Ulrich" userId="c64b3fe1-2fbf-4408-adc4-30add62e991f" providerId="ADAL" clId="{B99A90B8-7D29-4456-AFD4-0F3DBA13A596}" dt="2024-09-03T12:13:11.750" v="111759" actId="1076"/>
          <ac:spMkLst>
            <pc:docMk/>
            <pc:sldMk cId="994914706" sldId="5756"/>
            <ac:spMk id="6" creationId="{EA4EB7C4-8CB5-269D-87B4-3EC48AD25A63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12" creationId="{24254AC8-D7E5-61A6-62BC-98A63C805A6D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80" creationId="{F67FF5BA-10F1-214B-FD28-9189435D41A7}"/>
          </ac:spMkLst>
        </pc:spChg>
      </pc:sldChg>
      <pc:sldChg chg="modSp mod">
        <pc:chgData name="vonWaldow, Ulrich" userId="c64b3fe1-2fbf-4408-adc4-30add62e991f" providerId="ADAL" clId="{B99A90B8-7D29-4456-AFD4-0F3DBA13A596}" dt="2024-09-03T12:12:31.387" v="111667" actId="1582"/>
        <pc:sldMkLst>
          <pc:docMk/>
          <pc:sldMk cId="4189328249" sldId="5757"/>
        </pc:sldMkLst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5" creationId="{3F66B178-8806-0233-5FD3-64E537DB1CEF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6" creationId="{2A857058-4DCB-B4D1-9B33-B89F7C25745B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7" creationId="{46298701-425C-6CCC-17F3-2179D88C1ECA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8" creationId="{D209B282-A637-D4EF-0F92-FC88609807FC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9" creationId="{33405D57-A9F9-AC87-2DAE-CAC633ABA530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0" creationId="{6431B8D8-76A6-AB41-BBAF-112DF50E386B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1" creationId="{16161735-39FA-6636-B23D-C895126B13A6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2" creationId="{F25E3B1C-9AA0-A027-2632-1D94C65CB7DE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39" v="111758"/>
        <pc:sldMkLst>
          <pc:docMk/>
          <pc:sldMk cId="3869553804" sldId="5759"/>
        </pc:sldMkLst>
        <pc:spChg chg="mod">
          <ac:chgData name="vonWaldow, Ulrich" userId="c64b3fe1-2fbf-4408-adc4-30add62e991f" providerId="ADAL" clId="{B99A90B8-7D29-4456-AFD4-0F3DBA13A596}" dt="2024-09-03T12:12:57.600" v="111723" actId="948"/>
          <ac:spMkLst>
            <pc:docMk/>
            <pc:sldMk cId="3869553804" sldId="5759"/>
            <ac:spMk id="2" creationId="{806C710F-5574-52B4-5169-6DEC1D1127C6}"/>
          </ac:spMkLst>
        </pc:spChg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869553804" sldId="5759"/>
            <ac:spMk id="3" creationId="{C764B8A1-DC99-9E12-4298-8014BB9C75DB}"/>
          </ac:spMkLst>
        </pc:spChg>
        <pc:spChg chg="add del mod modVis">
          <ac:chgData name="vonWaldow, Ulrich" userId="c64b3fe1-2fbf-4408-adc4-30add62e991f" providerId="ADAL" clId="{B99A90B8-7D29-4456-AFD4-0F3DBA13A596}" dt="2024-09-03T12:12:57.637" v="111756"/>
          <ac:spMkLst>
            <pc:docMk/>
            <pc:sldMk cId="3869553804" sldId="5759"/>
            <ac:spMk id="96" creationId="{7869A134-C1ED-E822-7E5F-65689B225E41}"/>
          </ac:spMkLst>
        </pc:spChg>
        <pc:graphicFrameChg chg="mod">
          <ac:chgData name="vonWaldow, Ulrich" userId="c64b3fe1-2fbf-4408-adc4-30add62e991f" providerId="ADAL" clId="{B99A90B8-7D29-4456-AFD4-0F3DBA13A596}" dt="2024-09-03T12:12:57.639" v="111758"/>
          <ac:graphicFrameMkLst>
            <pc:docMk/>
            <pc:sldMk cId="3869553804" sldId="5759"/>
            <ac:graphicFrameMk id="97" creationId="{446E8C1E-6598-4D63-E4B9-1F96402D97D1}"/>
          </ac:graphicFrameMkLst>
        </pc:graphicFrameChg>
      </pc:sldChg>
      <pc:sldChg chg="addSp modSp mod modShow">
        <pc:chgData name="vonWaldow, Ulrich" userId="c64b3fe1-2fbf-4408-adc4-30add62e991f" providerId="ADAL" clId="{B99A90B8-7D29-4456-AFD4-0F3DBA13A596}" dt="2024-08-28T08:03:37.946" v="105569" actId="729"/>
        <pc:sldMkLst>
          <pc:docMk/>
          <pc:sldMk cId="2421045296" sldId="5760"/>
        </pc:sldMkLst>
        <pc:spChg chg="add mod">
          <ac:chgData name="vonWaldow, Ulrich" userId="c64b3fe1-2fbf-4408-adc4-30add62e991f" providerId="ADAL" clId="{B99A90B8-7D29-4456-AFD4-0F3DBA13A596}" dt="2024-08-27T14:14:32.022" v="105505"/>
          <ac:spMkLst>
            <pc:docMk/>
            <pc:sldMk cId="2421045296" sldId="5760"/>
            <ac:spMk id="4" creationId="{6085FF73-16D5-D70C-1DA8-334B188FAEE2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1708812204" sldId="5761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708812204" sldId="5761"/>
            <ac:spMk id="3" creationId="{17B7A688-19FD-5374-A5B1-CD4A4779BBE2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708812204" sldId="5761"/>
            <ac:spMk id="40978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145262318" sldId="576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45262318" sldId="5764"/>
            <ac:spMk id="3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45262318" sldId="5764"/>
            <ac:spMk id="5" creationId="{00000000-0000-0000-0000-00000000000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28:41.057" v="112305" actId="478"/>
        <pc:sldMkLst>
          <pc:docMk/>
          <pc:sldMk cId="703277858" sldId="5765"/>
        </pc:sldMkLst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0" creationId="{4FB4D624-8F29-CA84-23D5-8DC97A065B9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1" creationId="{81BE5D26-B0DE-2584-E90A-25125DFB4A0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2" creationId="{90DF9E46-68A3-9ED4-66B3-3A9E53E8129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3" creationId="{423117C0-685E-24FD-C060-3DDCF9B86E5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4" creationId="{29B3E0A9-0D7C-6734-E4CA-EFEBD10A5DC1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5" creationId="{AC3A075D-4E07-A53B-5277-71EBE9922F4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6" creationId="{3BBBCDBB-15AB-5968-793B-487B409DB00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7" creationId="{8D31BECE-F321-5B5F-544E-97CC442B2D8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8" creationId="{EE8DF004-D9E0-F32F-D49A-CF4CC87B9D2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9" creationId="{C5D99D55-E59E-1728-4C4D-CEA120D4F0E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0" creationId="{D53E23CC-58D8-F57C-9F46-BB0943CB1DE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1" creationId="{0E878F22-4F8B-0829-E778-84806A9035F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2" creationId="{45C65F98-7C1A-A942-182A-8357B7C12FD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3" creationId="{5212A39C-56C9-A0CB-D18C-77024FB6A6F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4" creationId="{620165BF-F6CF-F7D1-6A25-74A3DDAD137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5" creationId="{EA123A7D-FBAF-EEBE-35E9-0141C32613B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6" creationId="{3715C048-D27E-5B64-83BD-A577D060DBB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7" creationId="{E6A4CDDD-558E-52C1-ECC6-B79BE70F22F6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8" creationId="{73B7BEA0-6501-4917-1997-18C81507FA5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9" creationId="{6B70CAE0-D4D1-EFE1-765A-AAC59AE798A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0" creationId="{0FD31352-D1BA-4937-BF40-96E15F9519F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1" creationId="{0C6C95FE-A6BE-CE1D-CF84-942AD48109B9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2" creationId="{98218987-5959-9A3D-0A36-5D2227DD496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3" creationId="{C47675DC-9993-33C9-2E86-2CB9682B3AB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4" creationId="{DEB3F1C8-0E3A-3C90-7B7F-361F7275B513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5" creationId="{124A6496-CFBA-06CB-436C-2F920EA26BC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6" creationId="{0CCEA13F-BD0D-3E17-3450-325C97510BE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7" creationId="{F21E8712-E926-AB0F-2D6D-A151CEFA7B19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8" creationId="{4CE37C99-1C76-E572-BCBB-3A03823B4F0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9" creationId="{E339E072-B659-91AA-FE5D-43AB03EC763B}"/>
          </ac:spMkLst>
        </pc:spChg>
        <pc:spChg chg="del mod topLvl">
          <ac:chgData name="vonWaldow, Ulrich" userId="c64b3fe1-2fbf-4408-adc4-30add62e991f" providerId="ADAL" clId="{B99A90B8-7D29-4456-AFD4-0F3DBA13A596}" dt="2024-09-03T12:28:41.057" v="112305" actId="478"/>
          <ac:spMkLst>
            <pc:docMk/>
            <pc:sldMk cId="703277858" sldId="5765"/>
            <ac:spMk id="40" creationId="{E9C9ABE0-7B50-4CE7-25AD-EAD0CF2C305F}"/>
          </ac:spMkLst>
        </pc:spChg>
        <pc:spChg chg="del mod topLvl">
          <ac:chgData name="vonWaldow, Ulrich" userId="c64b3fe1-2fbf-4408-adc4-30add62e991f" providerId="ADAL" clId="{B99A90B8-7D29-4456-AFD4-0F3DBA13A596}" dt="2024-09-03T12:28:41.057" v="112305" actId="478"/>
          <ac:spMkLst>
            <pc:docMk/>
            <pc:sldMk cId="703277858" sldId="5765"/>
            <ac:spMk id="41" creationId="{16CAA769-7067-E2A3-BBB7-D016BE15653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2" creationId="{F5BCD238-8F4A-2543-D7BE-3FA5720E45D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3" creationId="{9CC1886D-0253-F15A-A7CC-2ECA6F0434E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4" creationId="{8F816F87-A3EA-B714-2945-3985085F998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5" creationId="{AB17ABBA-4E5C-B2ED-9AF5-0BA386B6354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6" creationId="{E891252A-6FCD-A44D-07AF-731FD1CC1910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7" creationId="{4B80CCFF-CCAD-02B6-C27A-D055FEC653C7}"/>
          </ac:spMkLst>
        </pc:spChg>
        <pc:grpChg chg="del">
          <ac:chgData name="vonWaldow, Ulrich" userId="c64b3fe1-2fbf-4408-adc4-30add62e991f" providerId="ADAL" clId="{B99A90B8-7D29-4456-AFD4-0F3DBA13A596}" dt="2024-08-27T13:15:05.484" v="104952" actId="165"/>
          <ac:grpSpMkLst>
            <pc:docMk/>
            <pc:sldMk cId="703277858" sldId="5765"/>
            <ac:grpSpMk id="91" creationId="{8B9DC04C-37E6-7E93-608E-121C7FFCC1F1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2" creationId="{89082A0C-A53E-F739-B07F-2B76D4F950B6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3" creationId="{B4EFEF1F-DEB8-8FA1-BFDD-123F725BDFBF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4" creationId="{E5BFACF7-D34E-E47A-9035-C0812FC20629}"/>
          </ac:grpSpMkLst>
        </pc:grpChg>
      </pc:sldChg>
      <pc:sldChg chg="addSp delSp modSp new mod">
        <pc:chgData name="vonWaldow, Ulrich" userId="c64b3fe1-2fbf-4408-adc4-30add62e991f" providerId="ADAL" clId="{B99A90B8-7D29-4456-AFD4-0F3DBA13A596}" dt="2024-08-28T08:25:58.074" v="105808"/>
        <pc:sldMkLst>
          <pc:docMk/>
          <pc:sldMk cId="3577646394" sldId="5766"/>
        </pc:sldMkLst>
        <pc:spChg chg="mod">
          <ac:chgData name="vonWaldow, Ulrich" userId="c64b3fe1-2fbf-4408-adc4-30add62e991f" providerId="ADAL" clId="{B99A90B8-7D29-4456-AFD4-0F3DBA13A596}" dt="2024-08-28T08:21:06.808" v="105692" actId="948"/>
          <ac:spMkLst>
            <pc:docMk/>
            <pc:sldMk cId="3577646394" sldId="5766"/>
            <ac:spMk id="2" creationId="{95D6C01F-FD68-4CF4-5B55-667965D2C001}"/>
          </ac:spMkLst>
        </pc:spChg>
        <pc:spChg chg="mod">
          <ac:chgData name="vonWaldow, Ulrich" userId="c64b3fe1-2fbf-4408-adc4-30add62e991f" providerId="ADAL" clId="{B99A90B8-7D29-4456-AFD4-0F3DBA13A596}" dt="2024-08-28T08:21:09.473" v="105721"/>
          <ac:spMkLst>
            <pc:docMk/>
            <pc:sldMk cId="3577646394" sldId="5766"/>
            <ac:spMk id="3" creationId="{FD0B06C4-7219-E144-CC4F-F45B4DDFE0C4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5" creationId="{2A580524-8CAA-1123-CEA9-1CBE04E95008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6" creationId="{F875691A-7A65-0592-6368-E76482D25262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7" creationId="{9C85A4A9-11A3-8B64-DDA9-8B0799074684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8" creationId="{60B2A8A5-2CFF-7D3F-437D-C7221863C868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9" creationId="{B6E3A829-A571-98AD-EEA3-C369D3236F6E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0" creationId="{AA2FFAB6-6854-FA5D-D603-C9B3205EE43A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1" creationId="{9F9AEF3E-963F-8A7F-D902-F08C6B1B36F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2" creationId="{A85884B1-2327-4D2E-FC74-DD2E40369B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3" creationId="{7FC2B098-459A-6FFA-BD9F-AAB046EBA92C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4" creationId="{6665AF26-5D0C-6BB4-CA86-F7D75775C7F0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5" creationId="{5375A688-AACA-4F2F-D09A-2BC20DC4451E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6" creationId="{324FF55C-F5C8-BFF5-6DD1-2A48F514F90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7" creationId="{1B421976-E51A-7C3F-F015-B0481D79DA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8" creationId="{D4D9C82B-4DCD-1DA2-D9C4-0A4E3FD3986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9" creationId="{7205AFA2-574B-12D2-14D5-883B2CB52CA0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0" creationId="{C6F87A5F-859C-0B8A-A706-7BDFF4923D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1" creationId="{50EEE4E8-62C8-70F5-8989-0EA844F408A7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2" creationId="{A0FBBCCC-2A77-18FD-9F7D-A06BAF0B2EF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3" creationId="{2C25254E-19C7-844B-291F-15A6AFA4645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4" creationId="{56C68276-8C4B-3A21-CC5F-7F94962FDB44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5" creationId="{9FE1DBD1-D1D4-97E9-7CF1-71C955D73412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6" creationId="{A565E1AC-DE6E-747D-E439-43919C65F13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7" creationId="{3171ADC7-8AF6-C60C-DA3F-0AEE5E2063A1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8" creationId="{0DB0335A-2661-DD2E-2864-E0E940FA01D2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9" creationId="{41EBFE0E-6F44-F00B-FF28-7D4694AC4A5F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30" creationId="{3445A246-6F3B-8CA6-2F4E-B679A3A78087}"/>
          </ac:spMkLst>
        </pc:spChg>
        <pc:spChg chg="add mod topLvl">
          <ac:chgData name="vonWaldow, Ulrich" userId="c64b3fe1-2fbf-4408-adc4-30add62e991f" providerId="ADAL" clId="{B99A90B8-7D29-4456-AFD4-0F3DBA13A596}" dt="2024-08-28T08:25:39.525" v="105796" actId="179"/>
          <ac:spMkLst>
            <pc:docMk/>
            <pc:sldMk cId="3577646394" sldId="5766"/>
            <ac:spMk id="31" creationId="{81EAE51C-5B29-8489-DFA0-17C5776C3DA1}"/>
          </ac:spMkLst>
        </pc:spChg>
        <pc:spChg chg="add mod topLvl">
          <ac:chgData name="vonWaldow, Ulrich" userId="c64b3fe1-2fbf-4408-adc4-30add62e991f" providerId="ADAL" clId="{B99A90B8-7D29-4456-AFD4-0F3DBA13A596}" dt="2024-08-28T08:25:53.717" v="105807" actId="1038"/>
          <ac:spMkLst>
            <pc:docMk/>
            <pc:sldMk cId="3577646394" sldId="5766"/>
            <ac:spMk id="32" creationId="{BDD9AE36-4E2A-460E-C208-13E45CA8813B}"/>
          </ac:spMkLst>
        </pc:spChg>
        <pc:spChg chg="add mod topLvl">
          <ac:chgData name="vonWaldow, Ulrich" userId="c64b3fe1-2fbf-4408-adc4-30add62e991f" providerId="ADAL" clId="{B99A90B8-7D29-4456-AFD4-0F3DBA13A596}" dt="2024-08-28T08:25:58.074" v="105808"/>
          <ac:spMkLst>
            <pc:docMk/>
            <pc:sldMk cId="3577646394" sldId="5766"/>
            <ac:spMk id="33" creationId="{9381B6D8-5772-F65D-25B8-314CF123A10D}"/>
          </ac:spMkLst>
        </pc:spChg>
        <pc:spChg chg="add del mod modVis">
          <ac:chgData name="vonWaldow, Ulrich" userId="c64b3fe1-2fbf-4408-adc4-30add62e991f" providerId="ADAL" clId="{B99A90B8-7D29-4456-AFD4-0F3DBA13A596}" dt="2024-08-28T08:21:01.160" v="105621"/>
          <ac:spMkLst>
            <pc:docMk/>
            <pc:sldMk cId="3577646394" sldId="5766"/>
            <ac:spMk id="35" creationId="{A903F6D2-B0CF-4C17-5E77-E6ADE3504183}"/>
          </ac:spMkLst>
        </pc:spChg>
        <pc:spChg chg="add del mod modVis">
          <ac:chgData name="vonWaldow, Ulrich" userId="c64b3fe1-2fbf-4408-adc4-30add62e991f" providerId="ADAL" clId="{B99A90B8-7D29-4456-AFD4-0F3DBA13A596}" dt="2024-08-28T08:21:02.294" v="105659"/>
          <ac:spMkLst>
            <pc:docMk/>
            <pc:sldMk cId="3577646394" sldId="5766"/>
            <ac:spMk id="37" creationId="{5C4D0DC6-D478-5604-B5ED-7419CE8FFEEC}"/>
          </ac:spMkLst>
        </pc:spChg>
        <pc:spChg chg="add del mod modVis">
          <ac:chgData name="vonWaldow, Ulrich" userId="c64b3fe1-2fbf-4408-adc4-30add62e991f" providerId="ADAL" clId="{B99A90B8-7D29-4456-AFD4-0F3DBA13A596}" dt="2024-08-28T08:21:05.296" v="105684"/>
          <ac:spMkLst>
            <pc:docMk/>
            <pc:sldMk cId="3577646394" sldId="5766"/>
            <ac:spMk id="38" creationId="{1B1C1216-7006-DF80-F458-625D68710AF8}"/>
          </ac:spMkLst>
        </pc:spChg>
        <pc:spChg chg="add del mod modVis">
          <ac:chgData name="vonWaldow, Ulrich" userId="c64b3fe1-2fbf-4408-adc4-30add62e991f" providerId="ADAL" clId="{B99A90B8-7D29-4456-AFD4-0F3DBA13A596}" dt="2024-08-28T08:21:06.839" v="105713"/>
          <ac:spMkLst>
            <pc:docMk/>
            <pc:sldMk cId="3577646394" sldId="5766"/>
            <ac:spMk id="39" creationId="{2253FFE1-A456-9331-FEA0-8D90F8316917}"/>
          </ac:spMkLst>
        </pc:spChg>
        <pc:grpChg chg="add mod topLvl">
          <ac:chgData name="vonWaldow, Ulrich" userId="c64b3fe1-2fbf-4408-adc4-30add62e991f" providerId="ADAL" clId="{B99A90B8-7D29-4456-AFD4-0F3DBA13A596}" dt="2024-08-28T08:25:26.991" v="105791" actId="1037"/>
          <ac:grpSpMkLst>
            <pc:docMk/>
            <pc:sldMk cId="3577646394" sldId="5766"/>
            <ac:grpSpMk id="4" creationId="{A0117B2F-5D31-5B7F-983C-B173775B81EE}"/>
          </ac:grpSpMkLst>
        </pc:grpChg>
        <pc:grpChg chg="add del mod">
          <ac:chgData name="vonWaldow, Ulrich" userId="c64b3fe1-2fbf-4408-adc4-30add62e991f" providerId="ADAL" clId="{B99A90B8-7D29-4456-AFD4-0F3DBA13A596}" dt="2024-08-28T08:21:32.574" v="105724" actId="165"/>
          <ac:grpSpMkLst>
            <pc:docMk/>
            <pc:sldMk cId="3577646394" sldId="5766"/>
            <ac:grpSpMk id="34" creationId="{C8BB1259-EFB7-B8C4-6281-DC4A56E299E1}"/>
          </ac:grpSpMkLst>
        </pc:grpChg>
        <pc:grpChg chg="add del mod">
          <ac:chgData name="vonWaldow, Ulrich" userId="c64b3fe1-2fbf-4408-adc4-30add62e991f" providerId="ADAL" clId="{B99A90B8-7D29-4456-AFD4-0F3DBA13A596}" dt="2024-08-28T08:22:57.203" v="105742" actId="165"/>
          <ac:grpSpMkLst>
            <pc:docMk/>
            <pc:sldMk cId="3577646394" sldId="5766"/>
            <ac:grpSpMk id="40" creationId="{C8279294-6FD0-ED70-BBE1-359892DFFA95}"/>
          </ac:grpSpMkLst>
        </pc:grpChg>
        <pc:grpChg chg="add mod">
          <ac:chgData name="vonWaldow, Ulrich" userId="c64b3fe1-2fbf-4408-adc4-30add62e991f" providerId="ADAL" clId="{B99A90B8-7D29-4456-AFD4-0F3DBA13A596}" dt="2024-08-28T08:25:26.991" v="105791" actId="1037"/>
          <ac:grpSpMkLst>
            <pc:docMk/>
            <pc:sldMk cId="3577646394" sldId="5766"/>
            <ac:grpSpMk id="41" creationId="{FC723D23-A437-09D1-AF30-B3FEA6D0F7CB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8:21:06.850" v="105715"/>
          <ac:graphicFrameMkLst>
            <pc:docMk/>
            <pc:sldMk cId="3577646394" sldId="5766"/>
            <ac:graphicFrameMk id="36" creationId="{01A20F25-1CB1-0ED8-A2B8-391C90B6B74B}"/>
          </ac:graphicFrameMkLst>
        </pc:graphicFrameChg>
      </pc:sldChg>
      <pc:sldChg chg="addSp delSp modSp new mod">
        <pc:chgData name="vonWaldow, Ulrich" userId="c64b3fe1-2fbf-4408-adc4-30add62e991f" providerId="ADAL" clId="{B99A90B8-7D29-4456-AFD4-0F3DBA13A596}" dt="2024-08-28T08:32:16.168" v="107273" actId="20577"/>
        <pc:sldMkLst>
          <pc:docMk/>
          <pc:sldMk cId="2602176200" sldId="5767"/>
        </pc:sldMkLst>
        <pc:spChg chg="mod">
          <ac:chgData name="vonWaldow, Ulrich" userId="c64b3fe1-2fbf-4408-adc4-30add62e991f" providerId="ADAL" clId="{B99A90B8-7D29-4456-AFD4-0F3DBA13A596}" dt="2024-08-28T08:27:19.777" v="105987" actId="948"/>
          <ac:spMkLst>
            <pc:docMk/>
            <pc:sldMk cId="2602176200" sldId="5767"/>
            <ac:spMk id="2" creationId="{2225BD39-0F1A-0B53-E4EE-79228F928AED}"/>
          </ac:spMkLst>
        </pc:spChg>
        <pc:spChg chg="mod">
          <ac:chgData name="vonWaldow, Ulrich" userId="c64b3fe1-2fbf-4408-adc4-30add62e991f" providerId="ADAL" clId="{B99A90B8-7D29-4456-AFD4-0F3DBA13A596}" dt="2024-08-28T08:32:16.168" v="107273" actId="20577"/>
          <ac:spMkLst>
            <pc:docMk/>
            <pc:sldMk cId="2602176200" sldId="5767"/>
            <ac:spMk id="3" creationId="{68F2A6EE-EB81-E06F-470D-32FCDE6F156F}"/>
          </ac:spMkLst>
        </pc:spChg>
        <pc:spChg chg="add del mod">
          <ac:chgData name="vonWaldow, Ulrich" userId="c64b3fe1-2fbf-4408-adc4-30add62e991f" providerId="ADAL" clId="{B99A90B8-7D29-4456-AFD4-0F3DBA13A596}" dt="2024-08-28T08:27:08.531" v="105905" actId="478"/>
          <ac:spMkLst>
            <pc:docMk/>
            <pc:sldMk cId="2602176200" sldId="5767"/>
            <ac:spMk id="4" creationId="{4791F818-920B-BC6F-7983-CE8DBAE52E82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5" creationId="{3BE35DFB-1327-05D9-747C-5E69A4FC66E8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6" creationId="{7DF07AAE-F403-46ED-F7B6-C8F5BF2DC59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7" creationId="{D1A98724-02FF-FA8D-17B7-9F1C57B84363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8" creationId="{39132EC1-48EB-6224-B0B8-4B21D094452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9" creationId="{B7746711-82AE-5288-0AD8-EFE129DFF99B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0" creationId="{AD0E5D8E-6A46-2575-5CDF-2A228FAEA109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1" creationId="{A0C8AB60-15CB-A395-4135-C0F246A3190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2" creationId="{43B5F477-9666-53F6-D05D-ED969F5FAE2A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3" creationId="{F81C29F2-08C1-2525-F8FF-CE6B2CD258A5}"/>
          </ac:spMkLst>
        </pc:spChg>
        <pc:spChg chg="add del mod modVis">
          <ac:chgData name="vonWaldow, Ulrich" userId="c64b3fe1-2fbf-4408-adc4-30add62e991f" providerId="ADAL" clId="{B99A90B8-7D29-4456-AFD4-0F3DBA13A596}" dt="2024-08-28T08:27:12.059" v="105948"/>
          <ac:spMkLst>
            <pc:docMk/>
            <pc:sldMk cId="2602176200" sldId="5767"/>
            <ac:spMk id="18" creationId="{1D80C3D9-FE9C-A136-A131-A17C782FAAEF}"/>
          </ac:spMkLst>
        </pc:spChg>
        <pc:spChg chg="add del mod modVis">
          <ac:chgData name="vonWaldow, Ulrich" userId="c64b3fe1-2fbf-4408-adc4-30add62e991f" providerId="ADAL" clId="{B99A90B8-7D29-4456-AFD4-0F3DBA13A596}" dt="2024-08-28T08:27:13.039" v="105973"/>
          <ac:spMkLst>
            <pc:docMk/>
            <pc:sldMk cId="2602176200" sldId="5767"/>
            <ac:spMk id="19" creationId="{7651BFE8-D708-9E63-BE3F-96B6C8C4DF48}"/>
          </ac:spMkLst>
        </pc:spChg>
        <pc:spChg chg="add del mod modVis">
          <ac:chgData name="vonWaldow, Ulrich" userId="c64b3fe1-2fbf-4408-adc4-30add62e991f" providerId="ADAL" clId="{B99A90B8-7D29-4456-AFD4-0F3DBA13A596}" dt="2024-08-28T08:27:19.824" v="106008"/>
          <ac:spMkLst>
            <pc:docMk/>
            <pc:sldMk cId="2602176200" sldId="5767"/>
            <ac:spMk id="20" creationId="{0DA4CBBA-45C4-F51B-FA09-B513D154E0F2}"/>
          </ac:spMkLst>
        </pc:spChg>
        <pc:spChg chg="mod">
          <ac:chgData name="vonWaldow, Ulrich" userId="c64b3fe1-2fbf-4408-adc4-30add62e991f" providerId="ADAL" clId="{B99A90B8-7D29-4456-AFD4-0F3DBA13A596}" dt="2024-08-28T08:27:49.177" v="106051" actId="20577"/>
          <ac:spMkLst>
            <pc:docMk/>
            <pc:sldMk cId="2602176200" sldId="5767"/>
            <ac:spMk id="21" creationId="{B92FAB86-A3E5-66AD-9A2E-50CC0E52D8D8}"/>
          </ac:spMkLst>
        </pc:spChg>
        <pc:grpChg chg="add mod">
          <ac:chgData name="vonWaldow, Ulrich" userId="c64b3fe1-2fbf-4408-adc4-30add62e991f" providerId="ADAL" clId="{B99A90B8-7D29-4456-AFD4-0F3DBA13A596}" dt="2024-08-28T08:27:25.926" v="106017" actId="1076"/>
          <ac:grpSpMkLst>
            <pc:docMk/>
            <pc:sldMk cId="2602176200" sldId="5767"/>
            <ac:grpSpMk id="16" creationId="{2EC158D2-64C3-98F3-4D9D-E6D8FACB48DE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8:27:19.824" v="106010"/>
          <ac:graphicFrameMkLst>
            <pc:docMk/>
            <pc:sldMk cId="2602176200" sldId="5767"/>
            <ac:graphicFrameMk id="17" creationId="{BDB2C928-CDC7-27C8-10F5-7BAFABA133E3}"/>
          </ac:graphicFrameMkLst>
        </pc:graphicFrameChg>
        <pc:cxnChg chg="add mod">
          <ac:chgData name="vonWaldow, Ulrich" userId="c64b3fe1-2fbf-4408-adc4-30add62e991f" providerId="ADAL" clId="{B99A90B8-7D29-4456-AFD4-0F3DBA13A596}" dt="2024-08-28T08:27:25.926" v="106017" actId="1076"/>
          <ac:cxnSpMkLst>
            <pc:docMk/>
            <pc:sldMk cId="2602176200" sldId="5767"/>
            <ac:cxnSpMk id="14" creationId="{6A9C2357-9AB0-F83A-6E0C-33D7CDDA033A}"/>
          </ac:cxnSpMkLst>
        </pc:cxnChg>
        <pc:cxnChg chg="add mod">
          <ac:chgData name="vonWaldow, Ulrich" userId="c64b3fe1-2fbf-4408-adc4-30add62e991f" providerId="ADAL" clId="{B99A90B8-7D29-4456-AFD4-0F3DBA13A596}" dt="2024-08-28T08:27:25.926" v="106017" actId="1076"/>
          <ac:cxnSpMkLst>
            <pc:docMk/>
            <pc:sldMk cId="2602176200" sldId="5767"/>
            <ac:cxnSpMk id="15" creationId="{63189983-DC84-9C24-C536-E0EE662AA681}"/>
          </ac:cxnSpMkLst>
        </pc:cxnChg>
      </pc:sldChg>
      <pc:sldChg chg="addSp delSp modSp new mod">
        <pc:chgData name="vonWaldow, Ulrich" userId="c64b3fe1-2fbf-4408-adc4-30add62e991f" providerId="ADAL" clId="{B99A90B8-7D29-4456-AFD4-0F3DBA13A596}" dt="2024-08-28T08:32:12.699" v="107272" actId="20577"/>
        <pc:sldMkLst>
          <pc:docMk/>
          <pc:sldMk cId="4155553897" sldId="5768"/>
        </pc:sldMkLst>
        <pc:spChg chg="mod ord">
          <ac:chgData name="vonWaldow, Ulrich" userId="c64b3fe1-2fbf-4408-adc4-30add62e991f" providerId="ADAL" clId="{B99A90B8-7D29-4456-AFD4-0F3DBA13A596}" dt="2024-08-28T08:32:05.906" v="107240" actId="948"/>
          <ac:spMkLst>
            <pc:docMk/>
            <pc:sldMk cId="4155553897" sldId="5768"/>
            <ac:spMk id="2" creationId="{DF8C9AC2-636F-C560-816E-D135C0CA02FC}"/>
          </ac:spMkLst>
        </pc:spChg>
        <pc:spChg chg="mod ord">
          <ac:chgData name="vonWaldow, Ulrich" userId="c64b3fe1-2fbf-4408-adc4-30add62e991f" providerId="ADAL" clId="{B99A90B8-7D29-4456-AFD4-0F3DBA13A596}" dt="2024-08-28T08:32:12.699" v="107272" actId="20577"/>
          <ac:spMkLst>
            <pc:docMk/>
            <pc:sldMk cId="4155553897" sldId="5768"/>
            <ac:spMk id="3" creationId="{72AC4668-BD46-70AC-2BE7-AF78CB5C7921}"/>
          </ac:spMkLst>
        </pc:spChg>
        <pc:spChg chg="add del mod ord">
          <ac:chgData name="vonWaldow, Ulrich" userId="c64b3fe1-2fbf-4408-adc4-30add62e991f" providerId="ADAL" clId="{B99A90B8-7D29-4456-AFD4-0F3DBA13A596}" dt="2024-08-28T08:29:24.812" v="106512" actId="478"/>
          <ac:spMkLst>
            <pc:docMk/>
            <pc:sldMk cId="4155553897" sldId="5768"/>
            <ac:spMk id="5" creationId="{F100766A-37D8-F9FD-1692-0CD84D95E426}"/>
          </ac:spMkLst>
        </pc:spChg>
        <pc:spChg chg="add mod">
          <ac:chgData name="vonWaldow, Ulrich" userId="c64b3fe1-2fbf-4408-adc4-30add62e991f" providerId="ADAL" clId="{B99A90B8-7D29-4456-AFD4-0F3DBA13A596}" dt="2024-08-28T08:30:57.766" v="107141"/>
          <ac:spMkLst>
            <pc:docMk/>
            <pc:sldMk cId="4155553897" sldId="5768"/>
            <ac:spMk id="6" creationId="{FD72B3F5-148A-5587-3EFB-9FE304D80E88}"/>
          </ac:spMkLst>
        </pc:spChg>
        <pc:spChg chg="add mod">
          <ac:chgData name="vonWaldow, Ulrich" userId="c64b3fe1-2fbf-4408-adc4-30add62e991f" providerId="ADAL" clId="{B99A90B8-7D29-4456-AFD4-0F3DBA13A596}" dt="2024-08-28T08:30:57.774" v="107142"/>
          <ac:spMkLst>
            <pc:docMk/>
            <pc:sldMk cId="4155553897" sldId="5768"/>
            <ac:spMk id="7" creationId="{FE2CC2FA-26C2-1D25-0FF2-317D4F4B629D}"/>
          </ac:spMkLst>
        </pc:spChg>
        <pc:spChg chg="add mod">
          <ac:chgData name="vonWaldow, Ulrich" userId="c64b3fe1-2fbf-4408-adc4-30add62e991f" providerId="ADAL" clId="{B99A90B8-7D29-4456-AFD4-0F3DBA13A596}" dt="2024-08-28T08:30:57.774" v="107143"/>
          <ac:spMkLst>
            <pc:docMk/>
            <pc:sldMk cId="4155553897" sldId="5768"/>
            <ac:spMk id="8" creationId="{69057686-9729-56A0-176D-EFAEE03623FB}"/>
          </ac:spMkLst>
        </pc:spChg>
        <pc:spChg chg="add mod">
          <ac:chgData name="vonWaldow, Ulrich" userId="c64b3fe1-2fbf-4408-adc4-30add62e991f" providerId="ADAL" clId="{B99A90B8-7D29-4456-AFD4-0F3DBA13A596}" dt="2024-08-28T08:31:52.185" v="107208" actId="33524"/>
          <ac:spMkLst>
            <pc:docMk/>
            <pc:sldMk cId="4155553897" sldId="5768"/>
            <ac:spMk id="9" creationId="{85A09200-01AF-488A-E905-CCBD76BE07A7}"/>
          </ac:spMkLst>
        </pc:spChg>
        <pc:spChg chg="add mod">
          <ac:chgData name="vonWaldow, Ulrich" userId="c64b3fe1-2fbf-4408-adc4-30add62e991f" providerId="ADAL" clId="{B99A90B8-7D29-4456-AFD4-0F3DBA13A596}" dt="2024-08-28T08:30:57.774" v="107145"/>
          <ac:spMkLst>
            <pc:docMk/>
            <pc:sldMk cId="4155553897" sldId="5768"/>
            <ac:spMk id="10" creationId="{B2BDEA40-EDFF-267F-AD5E-45B0D635356D}"/>
          </ac:spMkLst>
        </pc:spChg>
        <pc:spChg chg="add mod">
          <ac:chgData name="vonWaldow, Ulrich" userId="c64b3fe1-2fbf-4408-adc4-30add62e991f" providerId="ADAL" clId="{B99A90B8-7D29-4456-AFD4-0F3DBA13A596}" dt="2024-08-28T08:30:57.781" v="107146"/>
          <ac:spMkLst>
            <pc:docMk/>
            <pc:sldMk cId="4155553897" sldId="5768"/>
            <ac:spMk id="11" creationId="{FB8E7EB1-09AC-7456-1E00-66A41DD5EF58}"/>
          </ac:spMkLst>
        </pc:spChg>
        <pc:spChg chg="add mod">
          <ac:chgData name="vonWaldow, Ulrich" userId="c64b3fe1-2fbf-4408-adc4-30add62e991f" providerId="ADAL" clId="{B99A90B8-7D29-4456-AFD4-0F3DBA13A596}" dt="2024-08-28T08:30:57.781" v="107147"/>
          <ac:spMkLst>
            <pc:docMk/>
            <pc:sldMk cId="4155553897" sldId="5768"/>
            <ac:spMk id="12" creationId="{C4880F11-4A57-6BC8-C0B2-E662DC4CE220}"/>
          </ac:spMkLst>
        </pc:spChg>
        <pc:spChg chg="add mod">
          <ac:chgData name="vonWaldow, Ulrich" userId="c64b3fe1-2fbf-4408-adc4-30add62e991f" providerId="ADAL" clId="{B99A90B8-7D29-4456-AFD4-0F3DBA13A596}" dt="2024-08-28T08:31:24.702" v="107200" actId="1076"/>
          <ac:spMkLst>
            <pc:docMk/>
            <pc:sldMk cId="4155553897" sldId="5768"/>
            <ac:spMk id="13" creationId="{91C78521-21F5-5E8D-F537-283914EC83FB}"/>
          </ac:spMkLst>
        </pc:spChg>
        <pc:spChg chg="add mod">
          <ac:chgData name="vonWaldow, Ulrich" userId="c64b3fe1-2fbf-4408-adc4-30add62e991f" providerId="ADAL" clId="{B99A90B8-7D29-4456-AFD4-0F3DBA13A596}" dt="2024-08-28T08:31:30.257" v="107202"/>
          <ac:spMkLst>
            <pc:docMk/>
            <pc:sldMk cId="4155553897" sldId="5768"/>
            <ac:spMk id="14" creationId="{071B4711-9E32-0E24-30E4-57824FF55D97}"/>
          </ac:spMkLst>
        </pc:spChg>
        <pc:spChg chg="add mod">
          <ac:chgData name="vonWaldow, Ulrich" userId="c64b3fe1-2fbf-4408-adc4-30add62e991f" providerId="ADAL" clId="{B99A90B8-7D29-4456-AFD4-0F3DBA13A596}" dt="2024-08-28T08:30:57.781" v="107150"/>
          <ac:spMkLst>
            <pc:docMk/>
            <pc:sldMk cId="4155553897" sldId="5768"/>
            <ac:spMk id="15" creationId="{AA73EC6C-0057-0D3E-D101-EE8B55A18EF3}"/>
          </ac:spMkLst>
        </pc:spChg>
        <pc:spChg chg="add mod">
          <ac:chgData name="vonWaldow, Ulrich" userId="c64b3fe1-2fbf-4408-adc4-30add62e991f" providerId="ADAL" clId="{B99A90B8-7D29-4456-AFD4-0F3DBA13A596}" dt="2024-08-28T08:30:57.788" v="107151"/>
          <ac:spMkLst>
            <pc:docMk/>
            <pc:sldMk cId="4155553897" sldId="5768"/>
            <ac:spMk id="16" creationId="{9E237791-6FA5-756F-40CA-08CEAE698591}"/>
          </ac:spMkLst>
        </pc:spChg>
        <pc:spChg chg="add mod">
          <ac:chgData name="vonWaldow, Ulrich" userId="c64b3fe1-2fbf-4408-adc4-30add62e991f" providerId="ADAL" clId="{B99A90B8-7D29-4456-AFD4-0F3DBA13A596}" dt="2024-08-28T08:30:57.788" v="107152"/>
          <ac:spMkLst>
            <pc:docMk/>
            <pc:sldMk cId="4155553897" sldId="5768"/>
            <ac:spMk id="17" creationId="{22D0E39F-0817-099C-F928-96F9C129C831}"/>
          </ac:spMkLst>
        </pc:spChg>
        <pc:spChg chg="add mod">
          <ac:chgData name="vonWaldow, Ulrich" userId="c64b3fe1-2fbf-4408-adc4-30add62e991f" providerId="ADAL" clId="{B99A90B8-7D29-4456-AFD4-0F3DBA13A596}" dt="2024-08-28T08:30:57.788" v="107153"/>
          <ac:spMkLst>
            <pc:docMk/>
            <pc:sldMk cId="4155553897" sldId="5768"/>
            <ac:spMk id="18" creationId="{272BE378-6B26-5F08-D323-2912C7FA5410}"/>
          </ac:spMkLst>
        </pc:spChg>
        <pc:spChg chg="add mod">
          <ac:chgData name="vonWaldow, Ulrich" userId="c64b3fe1-2fbf-4408-adc4-30add62e991f" providerId="ADAL" clId="{B99A90B8-7D29-4456-AFD4-0F3DBA13A596}" dt="2024-08-28T08:30:57.788" v="107154"/>
          <ac:spMkLst>
            <pc:docMk/>
            <pc:sldMk cId="4155553897" sldId="5768"/>
            <ac:spMk id="19" creationId="{0926FD2F-E0CC-3CD0-D56D-B7650BFBA41C}"/>
          </ac:spMkLst>
        </pc:spChg>
        <pc:spChg chg="add mod">
          <ac:chgData name="vonWaldow, Ulrich" userId="c64b3fe1-2fbf-4408-adc4-30add62e991f" providerId="ADAL" clId="{B99A90B8-7D29-4456-AFD4-0F3DBA13A596}" dt="2024-08-28T08:30:57.788" v="107155"/>
          <ac:spMkLst>
            <pc:docMk/>
            <pc:sldMk cId="4155553897" sldId="5768"/>
            <ac:spMk id="20" creationId="{919D6CA6-A7C4-81B0-FF11-874EB318FD9E}"/>
          </ac:spMkLst>
        </pc:spChg>
        <pc:spChg chg="add mod">
          <ac:chgData name="vonWaldow, Ulrich" userId="c64b3fe1-2fbf-4408-adc4-30add62e991f" providerId="ADAL" clId="{B99A90B8-7D29-4456-AFD4-0F3DBA13A596}" dt="2024-08-28T08:30:57.788" v="107156"/>
          <ac:spMkLst>
            <pc:docMk/>
            <pc:sldMk cId="4155553897" sldId="5768"/>
            <ac:spMk id="21" creationId="{E2807534-326F-6FB9-A211-41FE9F9E112A}"/>
          </ac:spMkLst>
        </pc:spChg>
        <pc:spChg chg="add mod">
          <ac:chgData name="vonWaldow, Ulrich" userId="c64b3fe1-2fbf-4408-adc4-30add62e991f" providerId="ADAL" clId="{B99A90B8-7D29-4456-AFD4-0F3DBA13A596}" dt="2024-08-28T08:30:57.796" v="107157"/>
          <ac:spMkLst>
            <pc:docMk/>
            <pc:sldMk cId="4155553897" sldId="5768"/>
            <ac:spMk id="22" creationId="{F809429C-0101-47EF-62D5-D580B6D16D60}"/>
          </ac:spMkLst>
        </pc:spChg>
        <pc:spChg chg="add mod">
          <ac:chgData name="vonWaldow, Ulrich" userId="c64b3fe1-2fbf-4408-adc4-30add62e991f" providerId="ADAL" clId="{B99A90B8-7D29-4456-AFD4-0F3DBA13A596}" dt="2024-08-28T08:30:57.796" v="107158"/>
          <ac:spMkLst>
            <pc:docMk/>
            <pc:sldMk cId="4155553897" sldId="5768"/>
            <ac:spMk id="23" creationId="{B79FBE3B-3E9D-4836-4258-B527FC3E7531}"/>
          </ac:spMkLst>
        </pc:spChg>
        <pc:spChg chg="add mod">
          <ac:chgData name="vonWaldow, Ulrich" userId="c64b3fe1-2fbf-4408-adc4-30add62e991f" providerId="ADAL" clId="{B99A90B8-7D29-4456-AFD4-0F3DBA13A596}" dt="2024-08-28T08:30:57.796" v="107159"/>
          <ac:spMkLst>
            <pc:docMk/>
            <pc:sldMk cId="4155553897" sldId="5768"/>
            <ac:spMk id="24" creationId="{822EA5FB-835D-C185-A349-C6D2BD086EF1}"/>
          </ac:spMkLst>
        </pc:spChg>
        <pc:spChg chg="add mod">
          <ac:chgData name="vonWaldow, Ulrich" userId="c64b3fe1-2fbf-4408-adc4-30add62e991f" providerId="ADAL" clId="{B99A90B8-7D29-4456-AFD4-0F3DBA13A596}" dt="2024-08-28T08:31:09.042" v="107195" actId="1076"/>
          <ac:spMkLst>
            <pc:docMk/>
            <pc:sldMk cId="4155553897" sldId="5768"/>
            <ac:spMk id="25" creationId="{6418C1CE-FAB9-046D-AD4F-9E8BB45278DA}"/>
          </ac:spMkLst>
        </pc:spChg>
        <pc:spChg chg="add mod">
          <ac:chgData name="vonWaldow, Ulrich" userId="c64b3fe1-2fbf-4408-adc4-30add62e991f" providerId="ADAL" clId="{B99A90B8-7D29-4456-AFD4-0F3DBA13A596}" dt="2024-08-28T08:30:57.796" v="107161"/>
          <ac:spMkLst>
            <pc:docMk/>
            <pc:sldMk cId="4155553897" sldId="5768"/>
            <ac:spMk id="26" creationId="{D9DB9A39-6CC3-5481-BA7D-DD0F931DF287}"/>
          </ac:spMkLst>
        </pc:spChg>
        <pc:spChg chg="add mod">
          <ac:chgData name="vonWaldow, Ulrich" userId="c64b3fe1-2fbf-4408-adc4-30add62e991f" providerId="ADAL" clId="{B99A90B8-7D29-4456-AFD4-0F3DBA13A596}" dt="2024-08-28T08:30:57.796" v="107162"/>
          <ac:spMkLst>
            <pc:docMk/>
            <pc:sldMk cId="4155553897" sldId="5768"/>
            <ac:spMk id="27" creationId="{8636C1B0-54B7-A175-179B-EF99B5C1C114}"/>
          </ac:spMkLst>
        </pc:spChg>
        <pc:spChg chg="add mod">
          <ac:chgData name="vonWaldow, Ulrich" userId="c64b3fe1-2fbf-4408-adc4-30add62e991f" providerId="ADAL" clId="{B99A90B8-7D29-4456-AFD4-0F3DBA13A596}" dt="2024-08-28T08:30:57.796" v="107163"/>
          <ac:spMkLst>
            <pc:docMk/>
            <pc:sldMk cId="4155553897" sldId="5768"/>
            <ac:spMk id="28" creationId="{2F602A32-9F01-D271-A1FD-C97B80DBA075}"/>
          </ac:spMkLst>
        </pc:spChg>
        <pc:spChg chg="add mod">
          <ac:chgData name="vonWaldow, Ulrich" userId="c64b3fe1-2fbf-4408-adc4-30add62e991f" providerId="ADAL" clId="{B99A90B8-7D29-4456-AFD4-0F3DBA13A596}" dt="2024-08-28T08:30:57.796" v="107164"/>
          <ac:spMkLst>
            <pc:docMk/>
            <pc:sldMk cId="4155553897" sldId="5768"/>
            <ac:spMk id="29" creationId="{AD8B39D8-D590-4D20-A9A4-F16DE7A3E7C6}"/>
          </ac:spMkLst>
        </pc:spChg>
        <pc:spChg chg="add mod">
          <ac:chgData name="vonWaldow, Ulrich" userId="c64b3fe1-2fbf-4408-adc4-30add62e991f" providerId="ADAL" clId="{B99A90B8-7D29-4456-AFD4-0F3DBA13A596}" dt="2024-08-28T08:30:57.796" v="107165"/>
          <ac:spMkLst>
            <pc:docMk/>
            <pc:sldMk cId="4155553897" sldId="5768"/>
            <ac:spMk id="30" creationId="{8EB36D89-371D-7A8F-7DE6-F8A44F98287E}"/>
          </ac:spMkLst>
        </pc:spChg>
        <pc:spChg chg="add mod ord">
          <ac:chgData name="vonWaldow, Ulrich" userId="c64b3fe1-2fbf-4408-adc4-30add62e991f" providerId="ADAL" clId="{B99A90B8-7D29-4456-AFD4-0F3DBA13A596}" dt="2024-08-28T08:30:57.796" v="107167"/>
          <ac:spMkLst>
            <pc:docMk/>
            <pc:sldMk cId="4155553897" sldId="5768"/>
            <ac:spMk id="31" creationId="{A88343F0-96BD-D299-1846-1106B3FE86F4}"/>
          </ac:spMkLst>
        </pc:spChg>
        <pc:spChg chg="add mod ord">
          <ac:chgData name="vonWaldow, Ulrich" userId="c64b3fe1-2fbf-4408-adc4-30add62e991f" providerId="ADAL" clId="{B99A90B8-7D29-4456-AFD4-0F3DBA13A596}" dt="2024-08-28T08:30:57.812" v="107169"/>
          <ac:spMkLst>
            <pc:docMk/>
            <pc:sldMk cId="4155553897" sldId="5768"/>
            <ac:spMk id="32" creationId="{9101C240-BA16-1DE5-C313-37D8884DEB95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1"/>
          <ac:spMkLst>
            <pc:docMk/>
            <pc:sldMk cId="4155553897" sldId="5768"/>
            <ac:spMk id="33" creationId="{C3F7E11C-E911-31FB-C5EF-1ED00FAE4FBB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3"/>
          <ac:spMkLst>
            <pc:docMk/>
            <pc:sldMk cId="4155553897" sldId="5768"/>
            <ac:spMk id="34" creationId="{5B325E10-2E32-2D6E-DB70-BF0CB47650F7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5"/>
          <ac:spMkLst>
            <pc:docMk/>
            <pc:sldMk cId="4155553897" sldId="5768"/>
            <ac:spMk id="35" creationId="{C1A74084-E28F-41EB-D3AD-A02C15CC36A0}"/>
          </ac:spMkLst>
        </pc:spChg>
        <pc:spChg chg="add mod ord">
          <ac:chgData name="vonWaldow, Ulrich" userId="c64b3fe1-2fbf-4408-adc4-30add62e991f" providerId="ADAL" clId="{B99A90B8-7D29-4456-AFD4-0F3DBA13A596}" dt="2024-08-28T08:31:01.481" v="107193" actId="1076"/>
          <ac:spMkLst>
            <pc:docMk/>
            <pc:sldMk cId="4155553897" sldId="5768"/>
            <ac:spMk id="36" creationId="{D1945760-DF3C-FA5F-4112-16752EC577BC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4"/>
          <ac:spMkLst>
            <pc:docMk/>
            <pc:sldMk cId="4155553897" sldId="5768"/>
            <ac:spMk id="38" creationId="{C1F5ADA8-A4DF-81B7-CC12-DB496F5A1B4C}"/>
          </ac:spMkLst>
        </pc:spChg>
        <pc:spChg chg="add mod replST">
          <ac:chgData name="vonWaldow, Ulrich" userId="c64b3fe1-2fbf-4408-adc4-30add62e991f" providerId="ADAL" clId="{B99A90B8-7D29-4456-AFD4-0F3DBA13A596}" dt="2024-08-28T08:30:57.812" v="107179"/>
          <ac:spMkLst>
            <pc:docMk/>
            <pc:sldMk cId="4155553897" sldId="5768"/>
            <ac:spMk id="39" creationId="{F14C64F0-D37F-7245-1259-3C8991532FEF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2"/>
          <ac:spMkLst>
            <pc:docMk/>
            <pc:sldMk cId="4155553897" sldId="5768"/>
            <ac:spMk id="40" creationId="{9455E089-9A17-CAA0-DF16-BAFAC617FA0D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1"/>
          <ac:spMkLst>
            <pc:docMk/>
            <pc:sldMk cId="4155553897" sldId="5768"/>
            <ac:spMk id="41" creationId="{1509DA76-0656-0C8C-7717-10C49528BDF4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3"/>
          <ac:spMkLst>
            <pc:docMk/>
            <pc:sldMk cId="4155553897" sldId="5768"/>
            <ac:spMk id="42" creationId="{3B62C673-B58A-1871-7617-F6083E227B80}"/>
          </ac:spMkLst>
        </pc:spChg>
        <pc:spChg chg="add mod replST">
          <ac:chgData name="vonWaldow, Ulrich" userId="c64b3fe1-2fbf-4408-adc4-30add62e991f" providerId="ADAL" clId="{B99A90B8-7D29-4456-AFD4-0F3DBA13A596}" dt="2024-08-28T08:30:57.812" v="107180"/>
          <ac:spMkLst>
            <pc:docMk/>
            <pc:sldMk cId="4155553897" sldId="5768"/>
            <ac:spMk id="43" creationId="{E8C952BF-7274-167E-0D24-65FF0D1DFDC1}"/>
          </ac:spMkLst>
        </pc:spChg>
        <pc:spChg chg="add del mod ord">
          <ac:chgData name="vonWaldow, Ulrich" userId="c64b3fe1-2fbf-4408-adc4-30add62e991f" providerId="ADAL" clId="{B99A90B8-7D29-4456-AFD4-0F3DBA13A596}" dt="2024-08-28T08:31:13.864" v="107196" actId="478"/>
          <ac:spMkLst>
            <pc:docMk/>
            <pc:sldMk cId="4155553897" sldId="5768"/>
            <ac:spMk id="44" creationId="{86BA5B1B-DDEA-BD33-2759-E70A9411B1F4}"/>
          </ac:spMkLst>
        </pc:spChg>
        <pc:spChg chg="add del mod modVis">
          <ac:chgData name="vonWaldow, Ulrich" userId="c64b3fe1-2fbf-4408-adc4-30add62e991f" providerId="ADAL" clId="{B99A90B8-7D29-4456-AFD4-0F3DBA13A596}" dt="2024-08-28T08:29:21.446" v="106496"/>
          <ac:spMkLst>
            <pc:docMk/>
            <pc:sldMk cId="4155553897" sldId="5768"/>
            <ac:spMk id="45" creationId="{E90EED90-5227-7576-5DF3-56E6FBB93DB7}"/>
          </ac:spMkLst>
        </pc:spChg>
        <pc:spChg chg="add del mod modVis">
          <ac:chgData name="vonWaldow, Ulrich" userId="c64b3fe1-2fbf-4408-adc4-30add62e991f" providerId="ADAL" clId="{B99A90B8-7D29-4456-AFD4-0F3DBA13A596}" dt="2024-08-28T08:29:27.251" v="106559"/>
          <ac:spMkLst>
            <pc:docMk/>
            <pc:sldMk cId="4155553897" sldId="5768"/>
            <ac:spMk id="49" creationId="{0B87AA4E-E8F4-BAD5-ACBB-9EB84DF657F8}"/>
          </ac:spMkLst>
        </pc:spChg>
        <pc:spChg chg="add del mod modVis">
          <ac:chgData name="vonWaldow, Ulrich" userId="c64b3fe1-2fbf-4408-adc4-30add62e991f" providerId="ADAL" clId="{B99A90B8-7D29-4456-AFD4-0F3DBA13A596}" dt="2024-08-28T08:29:28.136" v="106584"/>
          <ac:spMkLst>
            <pc:docMk/>
            <pc:sldMk cId="4155553897" sldId="5768"/>
            <ac:spMk id="50" creationId="{B40AE5FA-3CA4-FAA9-C82C-5BA48F71014D}"/>
          </ac:spMkLst>
        </pc:spChg>
        <pc:spChg chg="add del mod modVis">
          <ac:chgData name="vonWaldow, Ulrich" userId="c64b3fe1-2fbf-4408-adc4-30add62e991f" providerId="ADAL" clId="{B99A90B8-7D29-4456-AFD4-0F3DBA13A596}" dt="2024-08-28T08:29:40.359" v="106769"/>
          <ac:spMkLst>
            <pc:docMk/>
            <pc:sldMk cId="4155553897" sldId="5768"/>
            <ac:spMk id="51" creationId="{5866627C-3DE3-AF9D-E547-C66F06371AC4}"/>
          </ac:spMkLst>
        </pc:spChg>
        <pc:spChg chg="add del mod modVis">
          <ac:chgData name="vonWaldow, Ulrich" userId="c64b3fe1-2fbf-4408-adc4-30add62e991f" providerId="ADAL" clId="{B99A90B8-7D29-4456-AFD4-0F3DBA13A596}" dt="2024-08-28T08:30:57.827" v="107190"/>
          <ac:spMkLst>
            <pc:docMk/>
            <pc:sldMk cId="4155553897" sldId="5768"/>
            <ac:spMk id="56" creationId="{109F7AD1-2290-959B-66E6-C8C363B4B36D}"/>
          </ac:spMkLst>
        </pc:spChg>
        <pc:spChg chg="mod">
          <ac:chgData name="vonWaldow, Ulrich" userId="c64b3fe1-2fbf-4408-adc4-30add62e991f" providerId="ADAL" clId="{B99A90B8-7D29-4456-AFD4-0F3DBA13A596}" dt="2024-08-28T08:31:49.038" v="107207" actId="1076"/>
          <ac:spMkLst>
            <pc:docMk/>
            <pc:sldMk cId="4155553897" sldId="5768"/>
            <ac:spMk id="58" creationId="{815C4997-3D63-32C5-C789-EEFF473B4440}"/>
          </ac:spMkLst>
        </pc:spChg>
        <pc:spChg chg="add del mod modVis">
          <ac:chgData name="vonWaldow, Ulrich" userId="c64b3fe1-2fbf-4408-adc4-30add62e991f" providerId="ADAL" clId="{B99A90B8-7D29-4456-AFD4-0F3DBA13A596}" dt="2024-08-28T08:32:03.789" v="107231"/>
          <ac:spMkLst>
            <pc:docMk/>
            <pc:sldMk cId="4155553897" sldId="5768"/>
            <ac:spMk id="59" creationId="{02EE48FB-B017-0C1F-B6DB-16ED9191348D}"/>
          </ac:spMkLst>
        </pc:spChg>
        <pc:spChg chg="add del mod modVis">
          <ac:chgData name="vonWaldow, Ulrich" userId="c64b3fe1-2fbf-4408-adc4-30add62e991f" providerId="ADAL" clId="{B99A90B8-7D29-4456-AFD4-0F3DBA13A596}" dt="2024-08-28T08:32:05.938" v="107261"/>
          <ac:spMkLst>
            <pc:docMk/>
            <pc:sldMk cId="4155553897" sldId="5768"/>
            <ac:spMk id="60" creationId="{7B72B43F-7690-9A5C-6C5F-817797830056}"/>
          </ac:spMkLst>
        </pc:spChg>
        <pc:graphicFrameChg chg="add del mod replST">
          <ac:chgData name="vonWaldow, Ulrich" userId="c64b3fe1-2fbf-4408-adc4-30add62e991f" providerId="ADAL" clId="{B99A90B8-7D29-4456-AFD4-0F3DBA13A596}" dt="2024-08-28T08:29:20.925" v="106168"/>
          <ac:graphicFrameMkLst>
            <pc:docMk/>
            <pc:sldMk cId="4155553897" sldId="5768"/>
            <ac:graphicFrameMk id="4" creationId="{35DBA2B1-78EB-2D50-46DA-A162DEA5CA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21.352" v="106421"/>
          <ac:graphicFrameMkLst>
            <pc:docMk/>
            <pc:sldMk cId="4155553897" sldId="5768"/>
            <ac:graphicFrameMk id="37" creationId="{01F8D5A2-FAC8-25A9-CFCB-5181675426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40.108" v="106618"/>
          <ac:graphicFrameMkLst>
            <pc:docMk/>
            <pc:sldMk cId="4155553897" sldId="5768"/>
            <ac:graphicFrameMk id="46" creationId="{EA227E15-8E85-1545-32CA-BF2D87A6414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42.960" v="106804"/>
          <ac:graphicFrameMkLst>
            <pc:docMk/>
            <pc:sldMk cId="4155553897" sldId="5768"/>
            <ac:graphicFrameMk id="47" creationId="{FC6E3B0E-6A3C-D07C-29A9-A0EA18362F61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8T08:32:05.953" v="107263"/>
          <ac:graphicFrameMkLst>
            <pc:docMk/>
            <pc:sldMk cId="4155553897" sldId="5768"/>
            <ac:graphicFrameMk id="48" creationId="{C24F95EE-1B8C-C623-3A01-312641B38E91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8T08:30:57.766" v="107140"/>
          <ac:graphicFrameMkLst>
            <pc:docMk/>
            <pc:sldMk cId="4155553897" sldId="5768"/>
            <ac:graphicFrameMk id="52" creationId="{A15EFBAC-80A4-1E53-4EBA-073C1AE7FD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2.153" v="106920"/>
          <ac:graphicFrameMkLst>
            <pc:docMk/>
            <pc:sldMk cId="4155553897" sldId="5768"/>
            <ac:graphicFrameMk id="53" creationId="{2EABFE91-5B99-84AB-E19E-B05BFD1C7BF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3.635" v="107003"/>
          <ac:graphicFrameMkLst>
            <pc:docMk/>
            <pc:sldMk cId="4155553897" sldId="5768"/>
            <ac:graphicFrameMk id="54" creationId="{186C648E-F70C-AAA2-39C5-0280F3FFC9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7.729" v="107129"/>
          <ac:graphicFrameMkLst>
            <pc:docMk/>
            <pc:sldMk cId="4155553897" sldId="5768"/>
            <ac:graphicFrameMk id="55" creationId="{76CAA5E2-A522-6298-8D36-2B029B5E6697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8T08:30:57.812" v="107178"/>
          <ac:graphicFrameMkLst>
            <pc:docMk/>
            <pc:sldMk cId="4155553897" sldId="5768"/>
            <ac:graphicFrameMk id="57" creationId="{2442FDD4-EEA3-E693-3FBE-A161B03780E3}"/>
          </ac:graphicFrameMkLst>
        </pc:graphicFrameChg>
      </pc:sldChg>
      <pc:sldChg chg="addSp delSp modSp new mod modClrScheme chgLayout">
        <pc:chgData name="vonWaldow, Ulrich" userId="c64b3fe1-2fbf-4408-adc4-30add62e991f" providerId="ADAL" clId="{B99A90B8-7D29-4456-AFD4-0F3DBA13A596}" dt="2024-08-28T08:41:33.160" v="107694"/>
        <pc:sldMkLst>
          <pc:docMk/>
          <pc:sldMk cId="2965193750" sldId="5769"/>
        </pc:sldMkLst>
        <pc:spChg chg="mod ord">
          <ac:chgData name="vonWaldow, Ulrich" userId="c64b3fe1-2fbf-4408-adc4-30add62e991f" providerId="ADAL" clId="{B99A90B8-7D29-4456-AFD4-0F3DBA13A596}" dt="2024-08-28T08:41:33.128" v="107671" actId="948"/>
          <ac:spMkLst>
            <pc:docMk/>
            <pc:sldMk cId="2965193750" sldId="5769"/>
            <ac:spMk id="2" creationId="{B45ACFC0-0DEB-538B-476F-F83AE28C03DF}"/>
          </ac:spMkLst>
        </pc:spChg>
        <pc:spChg chg="mod ord">
          <ac:chgData name="vonWaldow, Ulrich" userId="c64b3fe1-2fbf-4408-adc4-30add62e991f" providerId="ADAL" clId="{B99A90B8-7D29-4456-AFD4-0F3DBA13A596}" dt="2024-08-28T08:41:17.534" v="107622" actId="700"/>
          <ac:spMkLst>
            <pc:docMk/>
            <pc:sldMk cId="2965193750" sldId="5769"/>
            <ac:spMk id="3" creationId="{C81FE499-98A9-5370-4461-5F9B20AA7398}"/>
          </ac:spMkLst>
        </pc:spChg>
        <pc:spChg chg="mod">
          <ac:chgData name="vonWaldow, Ulrich" userId="c64b3fe1-2fbf-4408-adc4-30add62e991f" providerId="ADAL" clId="{B99A90B8-7D29-4456-AFD4-0F3DBA13A596}" dt="2024-08-28T08:33:43.509" v="107333" actId="1076"/>
          <ac:spMkLst>
            <pc:docMk/>
            <pc:sldMk cId="2965193750" sldId="5769"/>
            <ac:spMk id="5" creationId="{8AF8DF33-8FEE-5607-A244-0616D68D2E2E}"/>
          </ac:spMkLst>
        </pc:spChg>
        <pc:spChg chg="add del mod modVis">
          <ac:chgData name="vonWaldow, Ulrich" userId="c64b3fe1-2fbf-4408-adc4-30add62e991f" providerId="ADAL" clId="{B99A90B8-7D29-4456-AFD4-0F3DBA13A596}" dt="2024-08-28T08:40:35.530" v="107376"/>
          <ac:spMkLst>
            <pc:docMk/>
            <pc:sldMk cId="2965193750" sldId="5769"/>
            <ac:spMk id="7" creationId="{F3AE1619-60C1-6990-B917-F32BEFEA3971}"/>
          </ac:spMkLst>
        </pc:spChg>
        <pc:spChg chg="add del mod modVis">
          <ac:chgData name="vonWaldow, Ulrich" userId="c64b3fe1-2fbf-4408-adc4-30add62e991f" providerId="ADAL" clId="{B99A90B8-7D29-4456-AFD4-0F3DBA13A596}" dt="2024-08-28T08:40:37.443" v="107422"/>
          <ac:spMkLst>
            <pc:docMk/>
            <pc:sldMk cId="2965193750" sldId="5769"/>
            <ac:spMk id="9" creationId="{3511CC86-00B2-8675-FD67-172C20B74FE5}"/>
          </ac:spMkLst>
        </pc:spChg>
        <pc:spChg chg="add del mod modVis">
          <ac:chgData name="vonWaldow, Ulrich" userId="c64b3fe1-2fbf-4408-adc4-30add62e991f" providerId="ADAL" clId="{B99A90B8-7D29-4456-AFD4-0F3DBA13A596}" dt="2024-08-28T08:40:41.166" v="107454"/>
          <ac:spMkLst>
            <pc:docMk/>
            <pc:sldMk cId="2965193750" sldId="5769"/>
            <ac:spMk id="10" creationId="{89EC8902-8FEB-D0C2-5AAE-8FC71BDAB88C}"/>
          </ac:spMkLst>
        </pc:spChg>
        <pc:spChg chg="add del mod modVis">
          <ac:chgData name="vonWaldow, Ulrich" userId="c64b3fe1-2fbf-4408-adc4-30add62e991f" providerId="ADAL" clId="{B99A90B8-7D29-4456-AFD4-0F3DBA13A596}" dt="2024-08-28T08:40:42.098" v="107482"/>
          <ac:spMkLst>
            <pc:docMk/>
            <pc:sldMk cId="2965193750" sldId="5769"/>
            <ac:spMk id="11" creationId="{87FE9432-BCDD-0105-B5FF-1840EA61E03D}"/>
          </ac:spMkLst>
        </pc:spChg>
        <pc:spChg chg="add del mod modVis">
          <ac:chgData name="vonWaldow, Ulrich" userId="c64b3fe1-2fbf-4408-adc4-30add62e991f" providerId="ADAL" clId="{B99A90B8-7D29-4456-AFD4-0F3DBA13A596}" dt="2024-08-28T08:40:44.316" v="107517"/>
          <ac:spMkLst>
            <pc:docMk/>
            <pc:sldMk cId="2965193750" sldId="5769"/>
            <ac:spMk id="12" creationId="{3FDBC811-62BA-6713-6181-64CBB4F9579B}"/>
          </ac:spMkLst>
        </pc:spChg>
        <pc:spChg chg="add del mod modVis">
          <ac:chgData name="vonWaldow, Ulrich" userId="c64b3fe1-2fbf-4408-adc4-30add62e991f" providerId="ADAL" clId="{B99A90B8-7D29-4456-AFD4-0F3DBA13A596}" dt="2024-08-28T08:40:45.558" v="107547"/>
          <ac:spMkLst>
            <pc:docMk/>
            <pc:sldMk cId="2965193750" sldId="5769"/>
            <ac:spMk id="13" creationId="{8919881B-08EE-0167-6923-1223226F0B8A}"/>
          </ac:spMkLst>
        </pc:spChg>
        <pc:spChg chg="add del mod modVis">
          <ac:chgData name="vonWaldow, Ulrich" userId="c64b3fe1-2fbf-4408-adc4-30add62e991f" providerId="ADAL" clId="{B99A90B8-7D29-4456-AFD4-0F3DBA13A596}" dt="2024-08-28T08:40:48.749" v="107575"/>
          <ac:spMkLst>
            <pc:docMk/>
            <pc:sldMk cId="2965193750" sldId="5769"/>
            <ac:spMk id="14" creationId="{7C511D70-EE2F-E128-C3A5-9DE5DE015D61}"/>
          </ac:spMkLst>
        </pc:spChg>
        <pc:spChg chg="add del mod modVis">
          <ac:chgData name="vonWaldow, Ulrich" userId="c64b3fe1-2fbf-4408-adc4-30add62e991f" providerId="ADAL" clId="{B99A90B8-7D29-4456-AFD4-0F3DBA13A596}" dt="2024-08-28T08:41:29.687" v="107646"/>
          <ac:spMkLst>
            <pc:docMk/>
            <pc:sldMk cId="2965193750" sldId="5769"/>
            <ac:spMk id="15" creationId="{614A430D-1F17-F27E-56C7-566C9475E413}"/>
          </ac:spMkLst>
        </pc:spChg>
        <pc:spChg chg="add del mod modVis">
          <ac:chgData name="vonWaldow, Ulrich" userId="c64b3fe1-2fbf-4408-adc4-30add62e991f" providerId="ADAL" clId="{B99A90B8-7D29-4456-AFD4-0F3DBA13A596}" dt="2024-08-28T08:41:33.160" v="107692"/>
          <ac:spMkLst>
            <pc:docMk/>
            <pc:sldMk cId="2965193750" sldId="5769"/>
            <ac:spMk id="16" creationId="{40AD7E47-842E-5148-C5B5-4C6838DB578F}"/>
          </ac:spMkLst>
        </pc:spChg>
        <pc:graphicFrameChg chg="add mod">
          <ac:chgData name="vonWaldow, Ulrich" userId="c64b3fe1-2fbf-4408-adc4-30add62e991f" providerId="ADAL" clId="{B99A90B8-7D29-4456-AFD4-0F3DBA13A596}" dt="2024-08-28T08:41:20.317" v="107623" actId="14100"/>
          <ac:graphicFrameMkLst>
            <pc:docMk/>
            <pc:sldMk cId="2965193750" sldId="5769"/>
            <ac:graphicFrameMk id="4" creationId="{CA6182CE-07CC-63F7-CDEF-0C8ECC3E86BC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8T08:41:33.160" v="107694"/>
          <ac:graphicFrameMkLst>
            <pc:docMk/>
            <pc:sldMk cId="2965193750" sldId="5769"/>
            <ac:graphicFrameMk id="8" creationId="{5DCD20FC-77BF-DCEC-7EDA-42656DE86E54}"/>
          </ac:graphicFrameMkLst>
        </pc:graphicFrameChg>
        <pc:picChg chg="add del">
          <ac:chgData name="vonWaldow, Ulrich" userId="c64b3fe1-2fbf-4408-adc4-30add62e991f" providerId="ADAL" clId="{B99A90B8-7D29-4456-AFD4-0F3DBA13A596}" dt="2024-08-28T08:35:28.949" v="107338" actId="478"/>
          <ac:picMkLst>
            <pc:docMk/>
            <pc:sldMk cId="2965193750" sldId="5769"/>
            <ac:picMk id="6" creationId="{447F4771-1F69-F2BE-A49A-720CFB5C2A1F}"/>
          </ac:picMkLst>
        </pc:picChg>
      </pc:sldChg>
      <pc:sldChg chg="addSp delSp modSp new mod ord">
        <pc:chgData name="vonWaldow, Ulrich" userId="c64b3fe1-2fbf-4408-adc4-30add62e991f" providerId="ADAL" clId="{B99A90B8-7D29-4456-AFD4-0F3DBA13A596}" dt="2024-09-03T12:01:06.476" v="110239" actId="1076"/>
        <pc:sldMkLst>
          <pc:docMk/>
          <pc:sldMk cId="1326169800" sldId="5770"/>
        </pc:sldMkLst>
        <pc:spChg chg="mod ord">
          <ac:chgData name="vonWaldow, Ulrich" userId="c64b3fe1-2fbf-4408-adc4-30add62e991f" providerId="ADAL" clId="{B99A90B8-7D29-4456-AFD4-0F3DBA13A596}" dt="2024-08-28T09:07:51.420" v="108485"/>
          <ac:spMkLst>
            <pc:docMk/>
            <pc:sldMk cId="1326169800" sldId="5770"/>
            <ac:spMk id="2" creationId="{088040EB-8E6D-5A3F-BBA5-444D723CF538}"/>
          </ac:spMkLst>
        </pc:spChg>
        <pc:spChg chg="mod ord">
          <ac:chgData name="vonWaldow, Ulrich" userId="c64b3fe1-2fbf-4408-adc4-30add62e991f" providerId="ADAL" clId="{B99A90B8-7D29-4456-AFD4-0F3DBA13A596}" dt="2024-08-28T09:09:49.901" v="108592" actId="790"/>
          <ac:spMkLst>
            <pc:docMk/>
            <pc:sldMk cId="1326169800" sldId="5770"/>
            <ac:spMk id="3" creationId="{23902413-25F4-D2CA-4CC0-4248B4264804}"/>
          </ac:spMkLst>
        </pc:spChg>
        <pc:spChg chg="add mod">
          <ac:chgData name="vonWaldow, Ulrich" userId="c64b3fe1-2fbf-4408-adc4-30add62e991f" providerId="ADAL" clId="{B99A90B8-7D29-4456-AFD4-0F3DBA13A596}" dt="2024-09-03T12:01:06.476" v="110239" actId="1076"/>
          <ac:spMkLst>
            <pc:docMk/>
            <pc:sldMk cId="1326169800" sldId="5770"/>
            <ac:spMk id="4" creationId="{BDCD1D3A-5A99-BAB4-4E3A-C7E1D0C59FD6}"/>
          </ac:spMkLst>
        </pc:spChg>
        <pc:spChg chg="add del mod modVis">
          <ac:chgData name="vonWaldow, Ulrich" userId="c64b3fe1-2fbf-4408-adc4-30add62e991f" providerId="ADAL" clId="{B99A90B8-7D29-4456-AFD4-0F3DBA13A596}" dt="2024-08-28T08:55:46.043" v="107727"/>
          <ac:spMkLst>
            <pc:docMk/>
            <pc:sldMk cId="1326169800" sldId="5770"/>
            <ac:spMk id="4" creationId="{D9773273-D65D-2B2B-93EA-AB04AE944568}"/>
          </ac:spMkLst>
        </pc:spChg>
        <pc:spChg chg="add del mod modVis">
          <ac:chgData name="vonWaldow, Ulrich" userId="c64b3fe1-2fbf-4408-adc4-30add62e991f" providerId="ADAL" clId="{B99A90B8-7D29-4456-AFD4-0F3DBA13A596}" dt="2024-08-28T08:55:47.026" v="107766"/>
          <ac:spMkLst>
            <pc:docMk/>
            <pc:sldMk cId="1326169800" sldId="5770"/>
            <ac:spMk id="6" creationId="{2147C456-1129-46DA-B9D7-CD52382B1CF5}"/>
          </ac:spMkLst>
        </pc:spChg>
        <pc:spChg chg="add del mod modVis">
          <ac:chgData name="vonWaldow, Ulrich" userId="c64b3fe1-2fbf-4408-adc4-30add62e991f" providerId="ADAL" clId="{B99A90B8-7D29-4456-AFD4-0F3DBA13A596}" dt="2024-08-28T08:57:17.399" v="107859"/>
          <ac:spMkLst>
            <pc:docMk/>
            <pc:sldMk cId="1326169800" sldId="5770"/>
            <ac:spMk id="7" creationId="{B319EFF6-217C-47BD-62E1-BE206A9F81A7}"/>
          </ac:spMkLst>
        </pc:spChg>
        <pc:spChg chg="add del mod modVis">
          <ac:chgData name="vonWaldow, Ulrich" userId="c64b3fe1-2fbf-4408-adc4-30add62e991f" providerId="ADAL" clId="{B99A90B8-7D29-4456-AFD4-0F3DBA13A596}" dt="2024-08-28T08:57:54.048" v="108113" actId="962"/>
          <ac:spMkLst>
            <pc:docMk/>
            <pc:sldMk cId="1326169800" sldId="5770"/>
            <ac:spMk id="8" creationId="{38DE0F53-8BB0-9F24-1A9D-FA685FD4FEE9}"/>
          </ac:spMkLst>
        </pc:spChg>
        <pc:spChg chg="add del mod modVis">
          <ac:chgData name="vonWaldow, Ulrich" userId="c64b3fe1-2fbf-4408-adc4-30add62e991f" providerId="ADAL" clId="{B99A90B8-7D29-4456-AFD4-0F3DBA13A596}" dt="2024-08-28T08:57:53.497" v="108085" actId="962"/>
          <ac:spMkLst>
            <pc:docMk/>
            <pc:sldMk cId="1326169800" sldId="5770"/>
            <ac:spMk id="9" creationId="{9027772F-8889-0466-B8E9-F328CEA85423}"/>
          </ac:spMkLst>
        </pc:spChg>
        <pc:spChg chg="add del mod modVis">
          <ac:chgData name="vonWaldow, Ulrich" userId="c64b3fe1-2fbf-4408-adc4-30add62e991f" providerId="ADAL" clId="{B99A90B8-7D29-4456-AFD4-0F3DBA13A596}" dt="2024-08-28T08:57:52.899" v="108057" actId="962"/>
          <ac:spMkLst>
            <pc:docMk/>
            <pc:sldMk cId="1326169800" sldId="5770"/>
            <ac:spMk id="10" creationId="{7E867B3A-80F0-7A5D-4F08-4DCCC93A16F1}"/>
          </ac:spMkLst>
        </pc:spChg>
        <pc:spChg chg="add del mod modVis">
          <ac:chgData name="vonWaldow, Ulrich" userId="c64b3fe1-2fbf-4408-adc4-30add62e991f" providerId="ADAL" clId="{B99A90B8-7D29-4456-AFD4-0F3DBA13A596}" dt="2024-08-28T08:57:52.600" v="108028" actId="962"/>
          <ac:spMkLst>
            <pc:docMk/>
            <pc:sldMk cId="1326169800" sldId="5770"/>
            <ac:spMk id="11" creationId="{8FC6209D-6FC7-E0FD-1E95-0DC689CE791B}"/>
          </ac:spMkLst>
        </pc:spChg>
        <pc:spChg chg="add del mod">
          <ac:chgData name="vonWaldow, Ulrich" userId="c64b3fe1-2fbf-4408-adc4-30add62e991f" providerId="ADAL" clId="{B99A90B8-7D29-4456-AFD4-0F3DBA13A596}" dt="2024-08-28T08:57:51.012" v="108000" actId="22"/>
          <ac:spMkLst>
            <pc:docMk/>
            <pc:sldMk cId="1326169800" sldId="5770"/>
            <ac:spMk id="13" creationId="{C668718D-F512-02C7-FE72-416D582A012A}"/>
          </ac:spMkLst>
        </pc:spChg>
        <pc:spChg chg="add del mod modVis">
          <ac:chgData name="vonWaldow, Ulrich" userId="c64b3fe1-2fbf-4408-adc4-30add62e991f" providerId="ADAL" clId="{B99A90B8-7D29-4456-AFD4-0F3DBA13A596}" dt="2024-08-28T08:58:07.805" v="108150"/>
          <ac:spMkLst>
            <pc:docMk/>
            <pc:sldMk cId="1326169800" sldId="5770"/>
            <ac:spMk id="14" creationId="{64B2EE25-D389-20E2-B7C3-54F4A4573171}"/>
          </ac:spMkLst>
        </pc:spChg>
        <pc:spChg chg="add del mod modVis">
          <ac:chgData name="vonWaldow, Ulrich" userId="c64b3fe1-2fbf-4408-adc4-30add62e991f" providerId="ADAL" clId="{B99A90B8-7D29-4456-AFD4-0F3DBA13A596}" dt="2024-08-28T08:58:11.548" v="108183"/>
          <ac:spMkLst>
            <pc:docMk/>
            <pc:sldMk cId="1326169800" sldId="5770"/>
            <ac:spMk id="15" creationId="{0A08F8FA-4261-42F8-662B-EAE283053A22}"/>
          </ac:spMkLst>
        </pc:spChg>
        <pc:spChg chg="add del mod modVis">
          <ac:chgData name="vonWaldow, Ulrich" userId="c64b3fe1-2fbf-4408-adc4-30add62e991f" providerId="ADAL" clId="{B99A90B8-7D29-4456-AFD4-0F3DBA13A596}" dt="2024-08-28T08:58:14.126" v="108212"/>
          <ac:spMkLst>
            <pc:docMk/>
            <pc:sldMk cId="1326169800" sldId="5770"/>
            <ac:spMk id="16" creationId="{37CB3E0E-499F-F7ED-C416-0CC27ED94F0B}"/>
          </ac:spMkLst>
        </pc:spChg>
        <pc:spChg chg="add">
          <ac:chgData name="vonWaldow, Ulrich" userId="c64b3fe1-2fbf-4408-adc4-30add62e991f" providerId="ADAL" clId="{B99A90B8-7D29-4456-AFD4-0F3DBA13A596}" dt="2024-08-28T09:00:08.588" v="108229"/>
          <ac:spMkLst>
            <pc:docMk/>
            <pc:sldMk cId="1326169800" sldId="5770"/>
            <ac:spMk id="17" creationId="{F79056C4-1358-53B5-C856-668A9DAA3C9E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19" creationId="{25411F13-1737-F892-C5C8-364845E678C5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0" creationId="{6AD3485F-FA42-A67C-5186-01F32CCDAFB7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1" creationId="{CD4A11D9-B4A9-DE6A-964F-4CD04D2FF20D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2" creationId="{8BB532F0-181D-E8DA-C70D-5CE8446E489F}"/>
          </ac:spMkLst>
        </pc:spChg>
        <pc:spChg chg="add mod ord">
          <ac:chgData name="vonWaldow, Ulrich" userId="c64b3fe1-2fbf-4408-adc4-30add62e991f" providerId="ADAL" clId="{B99A90B8-7D29-4456-AFD4-0F3DBA13A596}" dt="2024-08-28T09:53:20.442" v="109232" actId="20577"/>
          <ac:spMkLst>
            <pc:docMk/>
            <pc:sldMk cId="1326169800" sldId="5770"/>
            <ac:spMk id="23" creationId="{DC22B9C1-F943-C8CD-94B8-DD6BBDC58B01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6" creationId="{67851B89-BB35-A697-FC6E-7C029C5B4333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7" creationId="{5B183AB7-5556-3C10-A9F3-8BA82AC96110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8" creationId="{59120BAC-52FF-B926-0F0D-FF66701A8FC8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9" creationId="{4012A816-C5C7-7FA9-B53D-D70D57CAA394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40" creationId="{1A0700EB-5B36-13F5-8171-081951C3A636}"/>
          </ac:spMkLst>
        </pc:spChg>
        <pc:spChg chg="add mod">
          <ac:chgData name="vonWaldow, Ulrich" userId="c64b3fe1-2fbf-4408-adc4-30add62e991f" providerId="ADAL" clId="{B99A90B8-7D29-4456-AFD4-0F3DBA13A596}" dt="2024-08-28T09:10:43.587" v="108650" actId="242"/>
          <ac:spMkLst>
            <pc:docMk/>
            <pc:sldMk cId="1326169800" sldId="5770"/>
            <ac:spMk id="42" creationId="{6F45E4DE-16D5-B5A9-2B3E-3A9317B6615A}"/>
          </ac:spMkLst>
        </pc:spChg>
        <pc:grpChg chg="add mod">
          <ac:chgData name="vonWaldow, Ulrich" userId="c64b3fe1-2fbf-4408-adc4-30add62e991f" providerId="ADAL" clId="{B99A90B8-7D29-4456-AFD4-0F3DBA13A596}" dt="2024-08-28T09:10:13.719" v="108597"/>
          <ac:grpSpMkLst>
            <pc:docMk/>
            <pc:sldMk cId="1326169800" sldId="5770"/>
            <ac:grpSpMk id="41" creationId="{607A7F7B-9CB2-8149-281A-2EF375EEDD09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9:07:51.436" v="108503"/>
          <ac:graphicFrameMkLst>
            <pc:docMk/>
            <pc:sldMk cId="1326169800" sldId="5770"/>
            <ac:graphicFrameMk id="5" creationId="{1530FC19-B837-AF54-14E9-7B40F3CDE8E6}"/>
          </ac:graphicFrameMkLst>
        </pc:graphicFrame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5" creationId="{5417A706-0E5D-60A1-083C-0D8BFAF2DF46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7" creationId="{5AE2C91E-1D1C-0321-F158-3A3103271A02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9" creationId="{69CCA923-24C4-93E8-0F2F-CE82AE7A52FF}"/>
          </ac:picMkLst>
        </pc:picChg>
        <pc:picChg chg="add del mod ord">
          <ac:chgData name="vonWaldow, Ulrich" userId="c64b3fe1-2fbf-4408-adc4-30add62e991f" providerId="ADAL" clId="{B99A90B8-7D29-4456-AFD4-0F3DBA13A596}" dt="2024-08-28T09:09:40.521" v="108591" actId="478"/>
          <ac:picMkLst>
            <pc:docMk/>
            <pc:sldMk cId="1326169800" sldId="5770"/>
            <ac:picMk id="31" creationId="{4C6F5874-9DA2-E9F5-9EAA-90F875571BE2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33" creationId="{E1F32D5C-84CA-2808-E43B-85BA58B2C6A5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35" creationId="{B0067CBF-1739-483E-39DA-C1C19E7FEF03}"/>
          </ac:picMkLst>
        </pc:picChg>
        <pc:picChg chg="add del mod">
          <ac:chgData name="vonWaldow, Ulrich" userId="c64b3fe1-2fbf-4408-adc4-30add62e991f" providerId="ADAL" clId="{B99A90B8-7D29-4456-AFD4-0F3DBA13A596}" dt="2024-08-28T09:02:20.033" v="108290" actId="478"/>
          <ac:picMkLst>
            <pc:docMk/>
            <pc:sldMk cId="1326169800" sldId="5770"/>
            <ac:picMk id="1026" creationId="{6081F312-503C-08E6-DCC6-05095AE40C46}"/>
          </ac:picMkLst>
        </pc:picChg>
      </pc:sldChg>
      <pc:sldChg chg="add del">
        <pc:chgData name="vonWaldow, Ulrich" userId="c64b3fe1-2fbf-4408-adc4-30add62e991f" providerId="ADAL" clId="{B99A90B8-7D29-4456-AFD4-0F3DBA13A596}" dt="2024-08-28T09:00:39.496" v="108235" actId="2890"/>
        <pc:sldMkLst>
          <pc:docMk/>
          <pc:sldMk cId="437814973" sldId="5771"/>
        </pc:sldMkLst>
      </pc:sldChg>
      <pc:sldChg chg="addSp delSp modSp new mod modClrScheme chgLayout">
        <pc:chgData name="vonWaldow, Ulrich" userId="c64b3fe1-2fbf-4408-adc4-30add62e991f" providerId="ADAL" clId="{B99A90B8-7D29-4456-AFD4-0F3DBA13A596}" dt="2024-09-03T10:04:46.959" v="110238" actId="478"/>
        <pc:sldMkLst>
          <pc:docMk/>
          <pc:sldMk cId="3117312964" sldId="5771"/>
        </pc:sldMkLst>
        <pc:spChg chg="mod ord">
          <ac:chgData name="vonWaldow, Ulrich" userId="c64b3fe1-2fbf-4408-adc4-30add62e991f" providerId="ADAL" clId="{B99A90B8-7D29-4456-AFD4-0F3DBA13A596}" dt="2024-08-28T09:27:05.450" v="109113"/>
          <ac:spMkLst>
            <pc:docMk/>
            <pc:sldMk cId="3117312964" sldId="5771"/>
            <ac:spMk id="2" creationId="{4114D656-4B48-5FAC-E067-41FC2D12BE9F}"/>
          </ac:spMkLst>
        </pc:spChg>
        <pc:spChg chg="add del mod modVis">
          <ac:chgData name="vonWaldow, Ulrich" userId="c64b3fe1-2fbf-4408-adc4-30add62e991f" providerId="ADAL" clId="{B99A90B8-7D29-4456-AFD4-0F3DBA13A596}" dt="2024-08-28T09:16:45.885" v="108674"/>
          <ac:spMkLst>
            <pc:docMk/>
            <pc:sldMk cId="3117312964" sldId="5771"/>
            <ac:spMk id="3" creationId="{E044AB6B-EAD9-37E6-A518-0878749DE10E}"/>
          </ac:spMkLst>
        </pc:spChg>
        <pc:spChg chg="add del mod modVis">
          <ac:chgData name="vonWaldow, Ulrich" userId="c64b3fe1-2fbf-4408-adc4-30add62e991f" providerId="ADAL" clId="{B99A90B8-7D29-4456-AFD4-0F3DBA13A596}" dt="2024-08-28T09:16:53.452" v="108736"/>
          <ac:spMkLst>
            <pc:docMk/>
            <pc:sldMk cId="3117312964" sldId="5771"/>
            <ac:spMk id="5" creationId="{6C14643E-1942-265F-E70E-C3FE6DDE8A3A}"/>
          </ac:spMkLst>
        </pc:spChg>
        <pc:spChg chg="add del mod modVis">
          <ac:chgData name="vonWaldow, Ulrich" userId="c64b3fe1-2fbf-4408-adc4-30add62e991f" providerId="ADAL" clId="{B99A90B8-7D29-4456-AFD4-0F3DBA13A596}" dt="2024-08-28T09:16:59.164" v="108761"/>
          <ac:spMkLst>
            <pc:docMk/>
            <pc:sldMk cId="3117312964" sldId="5771"/>
            <ac:spMk id="6" creationId="{69E6C205-10AE-BC1E-6A67-FD87CC428FD8}"/>
          </ac:spMkLst>
        </pc:spChg>
        <pc:spChg chg="add mod ord">
          <ac:chgData name="vonWaldow, Ulrich" userId="c64b3fe1-2fbf-4408-adc4-30add62e991f" providerId="ADAL" clId="{B99A90B8-7D29-4456-AFD4-0F3DBA13A596}" dt="2024-08-28T09:27:05.451" v="109115"/>
          <ac:spMkLst>
            <pc:docMk/>
            <pc:sldMk cId="3117312964" sldId="5771"/>
            <ac:spMk id="7" creationId="{3FFB1EE8-A3AD-F0AC-3783-708B74BE8CAA}"/>
          </ac:spMkLst>
        </pc:spChg>
        <pc:spChg chg="add del mod modVis">
          <ac:chgData name="vonWaldow, Ulrich" userId="c64b3fe1-2fbf-4408-adc4-30add62e991f" providerId="ADAL" clId="{B99A90B8-7D29-4456-AFD4-0F3DBA13A596}" dt="2024-08-28T09:17:04.004" v="108786"/>
          <ac:spMkLst>
            <pc:docMk/>
            <pc:sldMk cId="3117312964" sldId="5771"/>
            <ac:spMk id="8" creationId="{387DA7B4-85AE-A18E-2FFB-3CC5B3F1288F}"/>
          </ac:spMkLst>
        </pc:spChg>
        <pc:spChg chg="add del mod modVis">
          <ac:chgData name="vonWaldow, Ulrich" userId="c64b3fe1-2fbf-4408-adc4-30add62e991f" providerId="ADAL" clId="{B99A90B8-7D29-4456-AFD4-0F3DBA13A596}" dt="2024-08-28T09:17:12.717" v="108825"/>
          <ac:spMkLst>
            <pc:docMk/>
            <pc:sldMk cId="3117312964" sldId="5771"/>
            <ac:spMk id="9" creationId="{59FE25F7-2111-F18A-1E42-2567EEA515A1}"/>
          </ac:spMkLst>
        </pc:spChg>
        <pc:spChg chg="add mod topLvl">
          <ac:chgData name="vonWaldow, Ulrich" userId="c64b3fe1-2fbf-4408-adc4-30add62e991f" providerId="ADAL" clId="{B99A90B8-7D29-4456-AFD4-0F3DBA13A596}" dt="2024-08-28T09:27:24.076" v="109127" actId="113"/>
          <ac:spMkLst>
            <pc:docMk/>
            <pc:sldMk cId="3117312964" sldId="5771"/>
            <ac:spMk id="11" creationId="{2A364528-DF81-3BF7-0796-E4FBE88F69FE}"/>
          </ac:spMkLst>
        </pc:spChg>
        <pc:spChg chg="add mod topLvl">
          <ac:chgData name="vonWaldow, Ulrich" userId="c64b3fe1-2fbf-4408-adc4-30add62e991f" providerId="ADAL" clId="{B99A90B8-7D29-4456-AFD4-0F3DBA13A596}" dt="2024-08-28T09:27:25.408" v="109128" actId="113"/>
          <ac:spMkLst>
            <pc:docMk/>
            <pc:sldMk cId="3117312964" sldId="5771"/>
            <ac:spMk id="12" creationId="{57A0D49B-61CA-4467-B3CE-5F290E8B89EF}"/>
          </ac:spMkLst>
        </pc:spChg>
        <pc:spChg chg="add">
          <ac:chgData name="vonWaldow, Ulrich" userId="c64b3fe1-2fbf-4408-adc4-30add62e991f" providerId="ADAL" clId="{B99A90B8-7D29-4456-AFD4-0F3DBA13A596}" dt="2024-08-28T09:18:12.551" v="108837"/>
          <ac:spMkLst>
            <pc:docMk/>
            <pc:sldMk cId="3117312964" sldId="5771"/>
            <ac:spMk id="13" creationId="{2C800B27-58E5-FDA0-C96D-5EA823C1354D}"/>
          </ac:spMkLst>
        </pc:spChg>
        <pc:spChg chg="add mod">
          <ac:chgData name="vonWaldow, Ulrich" userId="c64b3fe1-2fbf-4408-adc4-30add62e991f" providerId="ADAL" clId="{B99A90B8-7D29-4456-AFD4-0F3DBA13A596}" dt="2024-08-28T09:27:24.076" v="109127" actId="113"/>
          <ac:spMkLst>
            <pc:docMk/>
            <pc:sldMk cId="3117312964" sldId="5771"/>
            <ac:spMk id="14" creationId="{BA5E27A0-10DA-7CCE-4224-2A976C3A1D65}"/>
          </ac:spMkLst>
        </pc:spChg>
        <pc:spChg chg="add mod">
          <ac:chgData name="vonWaldow, Ulrich" userId="c64b3fe1-2fbf-4408-adc4-30add62e991f" providerId="ADAL" clId="{B99A90B8-7D29-4456-AFD4-0F3DBA13A596}" dt="2024-08-28T09:27:25.408" v="109128" actId="113"/>
          <ac:spMkLst>
            <pc:docMk/>
            <pc:sldMk cId="3117312964" sldId="5771"/>
            <ac:spMk id="16" creationId="{DE3B88DE-F0FF-0297-FE6C-3C0C35CAB19E}"/>
          </ac:spMkLst>
        </pc:spChg>
        <pc:spChg chg="add mod or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18" creationId="{33277B1D-D70C-DFF8-D25D-429D4F7D16E4}"/>
          </ac:spMkLst>
        </pc:spChg>
        <pc:spChg chg="add mod ord">
          <ac:chgData name="vonWaldow, Ulrich" userId="c64b3fe1-2fbf-4408-adc4-30add62e991f" providerId="ADAL" clId="{B99A90B8-7D29-4456-AFD4-0F3DBA13A596}" dt="2024-09-02T13:38:50.937" v="109546" actId="14100"/>
          <ac:spMkLst>
            <pc:docMk/>
            <pc:sldMk cId="3117312964" sldId="5771"/>
            <ac:spMk id="23" creationId="{1558CC5A-8E22-6E9B-9044-8890A0122444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25" creationId="{6B4C7EF4-5DE1-4311-019F-D64A0BAEE609}"/>
          </ac:spMkLst>
        </pc:spChg>
        <pc:spChg chg="add del">
          <ac:chgData name="vonWaldow, Ulrich" userId="c64b3fe1-2fbf-4408-adc4-30add62e991f" providerId="ADAL" clId="{B99A90B8-7D29-4456-AFD4-0F3DBA13A596}" dt="2024-08-28T09:28:32.482" v="109164" actId="478"/>
          <ac:spMkLst>
            <pc:docMk/>
            <pc:sldMk cId="3117312964" sldId="5771"/>
            <ac:spMk id="27" creationId="{AFC7E02C-AC62-2F4F-8AD6-21DE9F589A10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28" creationId="{3C33493F-62B5-0D81-EA46-EA0167D14D03}"/>
          </ac:spMkLst>
        </pc:spChg>
        <pc:spChg chg="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0" creationId="{CCE1B118-A821-EF75-18AD-5D94007FE65F}"/>
          </ac:spMkLst>
        </pc:spChg>
        <pc:spChg chg="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1" creationId="{C4E30D07-9AF6-5D4A-BC06-68EF651FB960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2" creationId="{F2E90D0D-6CA0-D477-1E69-3AE911BF419E}"/>
          </ac:spMkLst>
        </pc:spChg>
        <pc:spChg chg="add del">
          <ac:chgData name="vonWaldow, Ulrich" userId="c64b3fe1-2fbf-4408-adc4-30add62e991f" providerId="ADAL" clId="{B99A90B8-7D29-4456-AFD4-0F3DBA13A596}" dt="2024-08-28T09:30:12.546" v="109215" actId="11529"/>
          <ac:spMkLst>
            <pc:docMk/>
            <pc:sldMk cId="3117312964" sldId="5771"/>
            <ac:spMk id="36" creationId="{005B6DAE-702B-9579-4C47-78640F08A978}"/>
          </ac:spMkLst>
        </pc:spChg>
        <pc:spChg chg="add del mod">
          <ac:chgData name="vonWaldow, Ulrich" userId="c64b3fe1-2fbf-4408-adc4-30add62e991f" providerId="ADAL" clId="{B99A90B8-7D29-4456-AFD4-0F3DBA13A596}" dt="2024-09-03T10:04:46.959" v="110238" actId="478"/>
          <ac:spMkLst>
            <pc:docMk/>
            <pc:sldMk cId="3117312964" sldId="5771"/>
            <ac:spMk id="37" creationId="{64AAED40-61C2-6E4E-D573-7814C48AA845}"/>
          </ac:spMkLst>
        </pc:spChg>
        <pc:grpChg chg="add del mod">
          <ac:chgData name="vonWaldow, Ulrich" userId="c64b3fe1-2fbf-4408-adc4-30add62e991f" providerId="ADAL" clId="{B99A90B8-7D29-4456-AFD4-0F3DBA13A596}" dt="2024-08-28T09:25:27.643" v="109069" actId="165"/>
          <ac:grpSpMkLst>
            <pc:docMk/>
            <pc:sldMk cId="3117312964" sldId="5771"/>
            <ac:grpSpMk id="19" creationId="{3FEC8E25-24CC-CFA4-A8EA-1B0CC54E9BC7}"/>
          </ac:grpSpMkLst>
        </pc:grpChg>
        <pc:grpChg chg="add mod">
          <ac:chgData name="vonWaldow, Ulrich" userId="c64b3fe1-2fbf-4408-adc4-30add62e991f" providerId="ADAL" clId="{B99A90B8-7D29-4456-AFD4-0F3DBA13A596}" dt="2024-08-28T09:27:19.578" v="109125" actId="11530"/>
          <ac:grpSpMkLst>
            <pc:docMk/>
            <pc:sldMk cId="3117312964" sldId="5771"/>
            <ac:grpSpMk id="20" creationId="{3DE6EBD0-D1E0-42D1-6E87-4666D2A9D0AC}"/>
          </ac:grpSpMkLst>
        </pc:grpChg>
        <pc:grpChg chg="add mod">
          <ac:chgData name="vonWaldow, Ulrich" userId="c64b3fe1-2fbf-4408-adc4-30add62e991f" providerId="ADAL" clId="{B99A90B8-7D29-4456-AFD4-0F3DBA13A596}" dt="2024-08-28T09:27:19.578" v="109125" actId="11530"/>
          <ac:grpSpMkLst>
            <pc:docMk/>
            <pc:sldMk cId="3117312964" sldId="5771"/>
            <ac:grpSpMk id="21" creationId="{5DA32AA9-61C9-B11E-5823-E44E4633B0C9}"/>
          </ac:grpSpMkLst>
        </pc:grpChg>
        <pc:grpChg chg="add mod ord">
          <ac:chgData name="vonWaldow, Ulrich" userId="c64b3fe1-2fbf-4408-adc4-30add62e991f" providerId="ADAL" clId="{B99A90B8-7D29-4456-AFD4-0F3DBA13A596}" dt="2024-08-28T09:27:26.258" v="109129" actId="164"/>
          <ac:grpSpMkLst>
            <pc:docMk/>
            <pc:sldMk cId="3117312964" sldId="5771"/>
            <ac:grpSpMk id="22" creationId="{0516872C-2DED-DC4F-0FD5-90F3DF83DA95}"/>
          </ac:grpSpMkLst>
        </pc:grpChg>
        <pc:grpChg chg="add mod">
          <ac:chgData name="vonWaldow, Ulrich" userId="c64b3fe1-2fbf-4408-adc4-30add62e991f" providerId="ADAL" clId="{B99A90B8-7D29-4456-AFD4-0F3DBA13A596}" dt="2024-08-28T09:29:02.459" v="109174" actId="1076"/>
          <ac:grpSpMkLst>
            <pc:docMk/>
            <pc:sldMk cId="3117312964" sldId="5771"/>
            <ac:grpSpMk id="24" creationId="{D3703FC2-38F7-6A6E-B03F-84E242952059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26" creationId="{96D845C6-735E-6FDF-E148-B71F61980214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29" creationId="{ACC9B2A1-64A2-8DB9-6FEA-B37973CFC60E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3" creationId="{1B549D7A-2F1F-45DA-5F43-DC72CFD41EA5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4" creationId="{21453CB4-F165-6432-FADC-65BE430D1FF3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5" creationId="{ABC56CE2-B958-ED12-4240-8BC40AABD67E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9:27:05.459" v="109123"/>
          <ac:graphicFrameMkLst>
            <pc:docMk/>
            <pc:sldMk cId="3117312964" sldId="5771"/>
            <ac:graphicFrameMk id="4" creationId="{198E99AA-02ED-9798-3D2F-AA333E0B8674}"/>
          </ac:graphicFrameMkLst>
        </pc:graphicFrameChg>
      </pc:sldChg>
      <pc:sldChg chg="add mod modShow">
        <pc:chgData name="vonWaldow, Ulrich" userId="c64b3fe1-2fbf-4408-adc4-30add62e991f" providerId="ADAL" clId="{B99A90B8-7D29-4456-AFD4-0F3DBA13A596}" dt="2024-09-03T10:03:53.410" v="110165" actId="729"/>
        <pc:sldMkLst>
          <pc:docMk/>
          <pc:sldMk cId="2352158917" sldId="5776"/>
        </pc:sldMkLst>
      </pc:sldChg>
      <pc:sldChg chg="addSp delSp modSp new del mod ord modClrScheme chgLayout">
        <pc:chgData name="vonWaldow, Ulrich" userId="c64b3fe1-2fbf-4408-adc4-30add62e991f" providerId="ADAL" clId="{B99A90B8-7D29-4456-AFD4-0F3DBA13A596}" dt="2024-09-03T10:03:48.262" v="110163" actId="2696"/>
        <pc:sldMkLst>
          <pc:docMk/>
          <pc:sldMk cId="3489426856" sldId="5776"/>
        </pc:sldMkLst>
        <pc:spChg chg="del">
          <ac:chgData name="vonWaldow, Ulrich" userId="c64b3fe1-2fbf-4408-adc4-30add62e991f" providerId="ADAL" clId="{B99A90B8-7D29-4456-AFD4-0F3DBA13A596}" dt="2024-09-03T09:48:12.140" v="109623" actId="700"/>
          <ac:spMkLst>
            <pc:docMk/>
            <pc:sldMk cId="3489426856" sldId="5776"/>
            <ac:spMk id="2" creationId="{6DDB490F-3EDB-879A-5BA0-34248A1E048A}"/>
          </ac:spMkLst>
        </pc:spChg>
        <pc:spChg chg="add del mod">
          <ac:chgData name="vonWaldow, Ulrich" userId="c64b3fe1-2fbf-4408-adc4-30add62e991f" providerId="ADAL" clId="{B99A90B8-7D29-4456-AFD4-0F3DBA13A596}" dt="2024-09-03T09:50:38.345" v="109683" actId="21"/>
          <ac:spMkLst>
            <pc:docMk/>
            <pc:sldMk cId="3489426856" sldId="5776"/>
            <ac:spMk id="6" creationId="{14FC6DB7-DC64-84E8-C628-573C952ECB8A}"/>
          </ac:spMkLst>
        </pc:spChg>
        <pc:spChg chg="add del mod">
          <ac:chgData name="vonWaldow, Ulrich" userId="c64b3fe1-2fbf-4408-adc4-30add62e991f" providerId="ADAL" clId="{B99A90B8-7D29-4456-AFD4-0F3DBA13A596}" dt="2024-09-03T09:50:38.345" v="109683" actId="21"/>
          <ac:spMkLst>
            <pc:docMk/>
            <pc:sldMk cId="3489426856" sldId="5776"/>
            <ac:spMk id="7" creationId="{001196C8-F9BF-0892-0392-38FFC4963330}"/>
          </ac:spMkLst>
        </pc:spChg>
        <pc:spChg chg="add del mod ord">
          <ac:chgData name="vonWaldow, Ulrich" userId="c64b3fe1-2fbf-4408-adc4-30add62e991f" providerId="ADAL" clId="{B99A90B8-7D29-4456-AFD4-0F3DBA13A596}" dt="2024-09-03T09:54:10.554" v="109816" actId="21"/>
          <ac:spMkLst>
            <pc:docMk/>
            <pc:sldMk cId="3489426856" sldId="5776"/>
            <ac:spMk id="8" creationId="{14FC6DB7-DC64-84E8-C628-573C952ECB8A}"/>
          </ac:spMkLst>
        </pc:spChg>
        <pc:spChg chg="add del mod ord">
          <ac:chgData name="vonWaldow, Ulrich" userId="c64b3fe1-2fbf-4408-adc4-30add62e991f" providerId="ADAL" clId="{B99A90B8-7D29-4456-AFD4-0F3DBA13A596}" dt="2024-09-03T09:56:00.421" v="109868" actId="21"/>
          <ac:spMkLst>
            <pc:docMk/>
            <pc:sldMk cId="3489426856" sldId="5776"/>
            <ac:spMk id="9" creationId="{001196C8-F9BF-0892-0392-38FFC4963330}"/>
          </ac:spMkLst>
        </pc:spChg>
        <pc:spChg chg="add del mod ord">
          <ac:chgData name="vonWaldow, Ulrich" userId="c64b3fe1-2fbf-4408-adc4-30add62e991f" providerId="ADAL" clId="{B99A90B8-7D29-4456-AFD4-0F3DBA13A596}" dt="2024-09-03T10:03:25.959" v="110065" actId="478"/>
          <ac:spMkLst>
            <pc:docMk/>
            <pc:sldMk cId="3489426856" sldId="5776"/>
            <ac:spMk id="10" creationId="{D6F540C7-FC33-64AE-8170-04FDD765BB19}"/>
          </ac:spMkLst>
        </pc:spChg>
        <pc:spChg chg="add del mod ord">
          <ac:chgData name="vonWaldow, Ulrich" userId="c64b3fe1-2fbf-4408-adc4-30add62e991f" providerId="ADAL" clId="{B99A90B8-7D29-4456-AFD4-0F3DBA13A596}" dt="2024-09-03T09:56:00.421" v="109868" actId="21"/>
          <ac:spMkLst>
            <pc:docMk/>
            <pc:sldMk cId="3489426856" sldId="5776"/>
            <ac:spMk id="12" creationId="{A71671F9-ADB0-8A8A-A6E7-07431490FE81}"/>
          </ac:spMkLst>
        </pc:spChg>
        <pc:spChg chg="add del mod">
          <ac:chgData name="vonWaldow, Ulrich" userId="c64b3fe1-2fbf-4408-adc4-30add62e991f" providerId="ADAL" clId="{B99A90B8-7D29-4456-AFD4-0F3DBA13A596}" dt="2024-09-03T09:53:49.285" v="109811" actId="478"/>
          <ac:spMkLst>
            <pc:docMk/>
            <pc:sldMk cId="3489426856" sldId="5776"/>
            <ac:spMk id="13" creationId="{9805DA75-1D7D-2B90-17A6-5AD597C7ACBC}"/>
          </ac:spMkLst>
        </pc:spChg>
        <pc:spChg chg="add mod ord">
          <ac:chgData name="vonWaldow, Ulrich" userId="c64b3fe1-2fbf-4408-adc4-30add62e991f" providerId="ADAL" clId="{B99A90B8-7D29-4456-AFD4-0F3DBA13A596}" dt="2024-09-03T09:59:01.964" v="109984" actId="1036"/>
          <ac:spMkLst>
            <pc:docMk/>
            <pc:sldMk cId="3489426856" sldId="5776"/>
            <ac:spMk id="14" creationId="{01B5A01E-0998-F371-7BD5-8ABE4F559E23}"/>
          </ac:spMkLst>
        </pc:spChg>
        <pc:spChg chg="add mod ord">
          <ac:chgData name="vonWaldow, Ulrich" userId="c64b3fe1-2fbf-4408-adc4-30add62e991f" providerId="ADAL" clId="{B99A90B8-7D29-4456-AFD4-0F3DBA13A596}" dt="2024-09-03T09:56:44.926" v="109898"/>
          <ac:spMkLst>
            <pc:docMk/>
            <pc:sldMk cId="3489426856" sldId="5776"/>
            <ac:spMk id="15" creationId="{14FC6DB7-DC64-84E8-C628-573C952ECB8A}"/>
          </ac:spMkLst>
        </pc:spChg>
        <pc:spChg chg="add del mod">
          <ac:chgData name="vonWaldow, Ulrich" userId="c64b3fe1-2fbf-4408-adc4-30add62e991f" providerId="ADAL" clId="{B99A90B8-7D29-4456-AFD4-0F3DBA13A596}" dt="2024-09-03T09:55:46.829" v="109865" actId="478"/>
          <ac:spMkLst>
            <pc:docMk/>
            <pc:sldMk cId="3489426856" sldId="5776"/>
            <ac:spMk id="17" creationId="{0416A84E-C413-023F-21E7-9CA042268873}"/>
          </ac:spMkLst>
        </pc:spChg>
        <pc:spChg chg="add mod">
          <ac:chgData name="vonWaldow, Ulrich" userId="c64b3fe1-2fbf-4408-adc4-30add62e991f" providerId="ADAL" clId="{B99A90B8-7D29-4456-AFD4-0F3DBA13A596}" dt="2024-09-03T09:55:12.102" v="109849" actId="571"/>
          <ac:spMkLst>
            <pc:docMk/>
            <pc:sldMk cId="3489426856" sldId="5776"/>
            <ac:spMk id="18" creationId="{CF4A4D2F-84DB-82FC-32D3-E735265EB64E}"/>
          </ac:spMkLst>
        </pc:spChg>
        <pc:spChg chg="add mod ord">
          <ac:chgData name="vonWaldow, Ulrich" userId="c64b3fe1-2fbf-4408-adc4-30add62e991f" providerId="ADAL" clId="{B99A90B8-7D29-4456-AFD4-0F3DBA13A596}" dt="2024-09-03T09:59:53.121" v="110012"/>
          <ac:spMkLst>
            <pc:docMk/>
            <pc:sldMk cId="3489426856" sldId="5776"/>
            <ac:spMk id="19" creationId="{9D3AFC14-D0BE-FD39-F1BB-812E0BA84D6D}"/>
          </ac:spMkLst>
        </pc:spChg>
        <pc:spChg chg="add mod ord">
          <ac:chgData name="vonWaldow, Ulrich" userId="c64b3fe1-2fbf-4408-adc4-30add62e991f" providerId="ADAL" clId="{B99A90B8-7D29-4456-AFD4-0F3DBA13A596}" dt="2024-09-03T10:00:48.740" v="110033"/>
          <ac:spMkLst>
            <pc:docMk/>
            <pc:sldMk cId="3489426856" sldId="5776"/>
            <ac:spMk id="20" creationId="{3608C20D-0ED5-1D60-08F2-7E7888BFD380}"/>
          </ac:spMkLst>
        </pc:spChg>
        <pc:spChg chg="add mod ord">
          <ac:chgData name="vonWaldow, Ulrich" userId="c64b3fe1-2fbf-4408-adc4-30add62e991f" providerId="ADAL" clId="{B99A90B8-7D29-4456-AFD4-0F3DBA13A596}" dt="2024-09-03T09:59:48.334" v="110008" actId="14100"/>
          <ac:spMkLst>
            <pc:docMk/>
            <pc:sldMk cId="3489426856" sldId="5776"/>
            <ac:spMk id="21" creationId="{001196C8-F9BF-0892-0392-38FFC4963330}"/>
          </ac:spMkLst>
        </pc:spChg>
        <pc:spChg chg="add mod ord">
          <ac:chgData name="vonWaldow, Ulrich" userId="c64b3fe1-2fbf-4408-adc4-30add62e991f" providerId="ADAL" clId="{B99A90B8-7D29-4456-AFD4-0F3DBA13A596}" dt="2024-09-03T10:00:46.311" v="110029" actId="14100"/>
          <ac:spMkLst>
            <pc:docMk/>
            <pc:sldMk cId="3489426856" sldId="5776"/>
            <ac:spMk id="22" creationId="{A71671F9-ADB0-8A8A-A6E7-07431490FE81}"/>
          </ac:spMkLst>
        </pc:spChg>
        <pc:spChg chg="add del mod">
          <ac:chgData name="vonWaldow, Ulrich" userId="c64b3fe1-2fbf-4408-adc4-30add62e991f" providerId="ADAL" clId="{B99A90B8-7D29-4456-AFD4-0F3DBA13A596}" dt="2024-09-03T10:00:53.313" v="110034" actId="478"/>
          <ac:spMkLst>
            <pc:docMk/>
            <pc:sldMk cId="3489426856" sldId="5776"/>
            <ac:spMk id="28" creationId="{14154E61-B06A-61E4-9BCD-499C9F218B56}"/>
          </ac:spMkLst>
        </pc:spChg>
        <pc:spChg chg="add del mod">
          <ac:chgData name="vonWaldow, Ulrich" userId="c64b3fe1-2fbf-4408-adc4-30add62e991f" providerId="ADAL" clId="{B99A90B8-7D29-4456-AFD4-0F3DBA13A596}" dt="2024-09-03T10:00:24.691" v="110021" actId="478"/>
          <ac:spMkLst>
            <pc:docMk/>
            <pc:sldMk cId="3489426856" sldId="5776"/>
            <ac:spMk id="29" creationId="{B5081039-1A99-DC41-43E9-929BCA204C7C}"/>
          </ac:spMkLst>
        </pc:spChg>
        <pc:spChg chg="add del mod">
          <ac:chgData name="vonWaldow, Ulrich" userId="c64b3fe1-2fbf-4408-adc4-30add62e991f" providerId="ADAL" clId="{B99A90B8-7D29-4456-AFD4-0F3DBA13A596}" dt="2024-09-03T10:00:53.313" v="110034" actId="478"/>
          <ac:spMkLst>
            <pc:docMk/>
            <pc:sldMk cId="3489426856" sldId="5776"/>
            <ac:spMk id="30" creationId="{18C39051-3B94-F506-5B1F-3E5D22F476BA}"/>
          </ac:spMkLst>
        </pc:spChg>
        <pc:spChg chg="add mod">
          <ac:chgData name="vonWaldow, Ulrich" userId="c64b3fe1-2fbf-4408-adc4-30add62e991f" providerId="ADAL" clId="{B99A90B8-7D29-4456-AFD4-0F3DBA13A596}" dt="2024-09-03T10:03:08.068" v="110062" actId="207"/>
          <ac:spMkLst>
            <pc:docMk/>
            <pc:sldMk cId="3489426856" sldId="5776"/>
            <ac:spMk id="33" creationId="{9176FE97-CF5D-A9C8-5F4D-3DB7910A72BA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09:56:44.931" v="109912"/>
          <ac:graphicFrameMkLst>
            <pc:docMk/>
            <pc:sldMk cId="3489426856" sldId="5776"/>
            <ac:graphicFrameMk id="5" creationId="{4FA354A4-4D84-45FA-3A46-1C42AD8AC9ED}"/>
          </ac:graphicFrameMkLst>
        </pc:graphicFrameChg>
        <pc:picChg chg="add del mod ord modCrop">
          <ac:chgData name="vonWaldow, Ulrich" userId="c64b3fe1-2fbf-4408-adc4-30add62e991f" providerId="ADAL" clId="{B99A90B8-7D29-4456-AFD4-0F3DBA13A596}" dt="2024-09-03T09:52:24.043" v="109780" actId="478"/>
          <ac:picMkLst>
            <pc:docMk/>
            <pc:sldMk cId="3489426856" sldId="5776"/>
            <ac:picMk id="4" creationId="{0EC18284-F31C-1080-E40E-7516965AF1E1}"/>
          </ac:picMkLst>
        </pc:picChg>
        <pc:picChg chg="add mod ord modCrop">
          <ac:chgData name="vonWaldow, Ulrich" userId="c64b3fe1-2fbf-4408-adc4-30add62e991f" providerId="ADAL" clId="{B99A90B8-7D29-4456-AFD4-0F3DBA13A596}" dt="2024-09-03T09:56:44.916" v="109894"/>
          <ac:picMkLst>
            <pc:docMk/>
            <pc:sldMk cId="3489426856" sldId="5776"/>
            <ac:picMk id="11" creationId="{96C6F73D-DC68-612F-96CF-52AFB2FD32AB}"/>
          </ac:picMkLst>
        </pc:picChg>
        <pc:picChg chg="add del mod modCrop">
          <ac:chgData name="vonWaldow, Ulrich" userId="c64b3fe1-2fbf-4408-adc4-30add62e991f" providerId="ADAL" clId="{B99A90B8-7D29-4456-AFD4-0F3DBA13A596}" dt="2024-09-03T10:02:53.849" v="110060" actId="21"/>
          <ac:picMkLst>
            <pc:docMk/>
            <pc:sldMk cId="3489426856" sldId="5776"/>
            <ac:picMk id="32" creationId="{5AC7DB31-0587-EA96-D6B3-25EEB1CE6852}"/>
          </ac:picMkLst>
        </pc:picChg>
        <pc:picChg chg="add mod modCrop">
          <ac:chgData name="vonWaldow, Ulrich" userId="c64b3fe1-2fbf-4408-adc4-30add62e991f" providerId="ADAL" clId="{B99A90B8-7D29-4456-AFD4-0F3DBA13A596}" dt="2024-09-03T10:03:21.889" v="110064" actId="732"/>
          <ac:picMkLst>
            <pc:docMk/>
            <pc:sldMk cId="3489426856" sldId="5776"/>
            <ac:picMk id="34" creationId="{5AC7DB31-0587-EA96-D6B3-25EEB1CE6852}"/>
          </ac:picMkLst>
        </pc:picChg>
        <pc:picChg chg="add del mod">
          <ac:chgData name="vonWaldow, Ulrich" userId="c64b3fe1-2fbf-4408-adc4-30add62e991f" providerId="ADAL" clId="{B99A90B8-7D29-4456-AFD4-0F3DBA13A596}" dt="2024-09-03T10:03:35.782" v="110067" actId="21"/>
          <ac:picMkLst>
            <pc:docMk/>
            <pc:sldMk cId="3489426856" sldId="5776"/>
            <ac:picMk id="35" creationId="{BC0C5CF6-0142-62EE-1AEB-1F30D5888A5B}"/>
          </ac:picMkLst>
        </pc:picChg>
        <pc:cxnChg chg="add del mod">
          <ac:chgData name="vonWaldow, Ulrich" userId="c64b3fe1-2fbf-4408-adc4-30add62e991f" providerId="ADAL" clId="{B99A90B8-7D29-4456-AFD4-0F3DBA13A596}" dt="2024-09-03T10:00:54.732" v="110035" actId="478"/>
          <ac:cxnSpMkLst>
            <pc:docMk/>
            <pc:sldMk cId="3489426856" sldId="5776"/>
            <ac:cxnSpMk id="24" creationId="{8198BBAF-4D25-8247-597E-874E31B4740F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9-03T10:03:46.175" v="110162" actId="1076"/>
        <pc:sldMkLst>
          <pc:docMk/>
          <pc:sldMk cId="3828025006" sldId="5777"/>
        </pc:sldMkLst>
        <pc:spChg chg="del">
          <ac:chgData name="vonWaldow, Ulrich" userId="c64b3fe1-2fbf-4408-adc4-30add62e991f" providerId="ADAL" clId="{B99A90B8-7D29-4456-AFD4-0F3DBA13A596}" dt="2024-09-03T10:03:40.689" v="110069" actId="700"/>
          <ac:spMkLst>
            <pc:docMk/>
            <pc:sldMk cId="3828025006" sldId="5777"/>
            <ac:spMk id="2" creationId="{8F322B43-7D37-22B1-8804-0D2045517693}"/>
          </ac:spMkLst>
        </pc:spChg>
        <pc:graphicFrameChg chg="add mod modVis replST">
          <ac:chgData name="vonWaldow, Ulrich" userId="c64b3fe1-2fbf-4408-adc4-30add62e991f" providerId="ADAL" clId="{B99A90B8-7D29-4456-AFD4-0F3DBA13A596}" dt="2024-09-03T10:03:41.290" v="110084"/>
          <ac:graphicFrameMkLst>
            <pc:docMk/>
            <pc:sldMk cId="3828025006" sldId="5777"/>
            <ac:graphicFrameMk id="3" creationId="{28D42391-BFFE-DAA5-59D2-F59D62D0494B}"/>
          </ac:graphicFrameMkLst>
        </pc:graphicFrameChg>
        <pc:picChg chg="add mod">
          <ac:chgData name="vonWaldow, Ulrich" userId="c64b3fe1-2fbf-4408-adc4-30add62e991f" providerId="ADAL" clId="{B99A90B8-7D29-4456-AFD4-0F3DBA13A596}" dt="2024-09-03T10:03:46.175" v="110162" actId="1076"/>
          <ac:picMkLst>
            <pc:docMk/>
            <pc:sldMk cId="3828025006" sldId="5777"/>
            <ac:picMk id="35" creationId="{BC0C5CF6-0142-62EE-1AEB-1F30D5888A5B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5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462730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Parallelogramm 53">
            <a:extLst>
              <a:ext uri="{FF2B5EF4-FFF2-40B4-BE49-F238E27FC236}">
                <a16:creationId xmlns:a16="http://schemas.microsoft.com/office/drawing/2014/main" id="{12D466F9-A3C9-4AE5-DA66-A5DC4105C7D6}"/>
              </a:ext>
            </a:extLst>
          </p:cNvPr>
          <p:cNvSpPr/>
          <p:nvPr userDrawn="1"/>
        </p:nvSpPr>
        <p:spPr>
          <a:xfrm>
            <a:off x="3644254" y="1399199"/>
            <a:ext cx="5993619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292500" tIns="29250" rIns="0" bIns="292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" name="Rechteck 30">
            <a:extLst>
              <a:ext uri="{FF2B5EF4-FFF2-40B4-BE49-F238E27FC236}">
                <a16:creationId xmlns:a16="http://schemas.microsoft.com/office/drawing/2014/main" id="{95E970B6-3998-A5AF-6789-D415965D6A89}"/>
              </a:ext>
            </a:extLst>
          </p:cNvPr>
          <p:cNvSpPr/>
          <p:nvPr userDrawn="1"/>
        </p:nvSpPr>
        <p:spPr>
          <a:xfrm>
            <a:off x="0" y="1052512"/>
            <a:ext cx="3225300" cy="5805487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250" tIns="29250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25" b="1" kern="0" dirty="0">
                <a:solidFill>
                  <a:schemeClr val="bg1"/>
                </a:solidFill>
                <a:latin typeface="Arial" panose="020B0604020202020204"/>
              </a:rPr>
              <a:t>Potenziale</a:t>
            </a:r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72157" y="0"/>
            <a:ext cx="9361686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9788" y="3498226"/>
            <a:ext cx="5802354" cy="1276974"/>
          </a:xfrm>
        </p:spPr>
        <p:txBody>
          <a:bodyPr lIns="36000" tIns="90000" rIns="36000" bIns="36000" numCol="2" spcCol="18000">
            <a:noAutofit/>
          </a:bodyPr>
          <a:lstStyle>
            <a:lvl1pPr marL="139303" indent="-139303" algn="l">
              <a:lnSpc>
                <a:spcPts val="1381"/>
              </a:lnSpc>
              <a:spcBef>
                <a:spcPts val="163"/>
              </a:spcBef>
              <a:buFont typeface="Wingdings" panose="05000000000000000000" pitchFamily="2" charset="2"/>
              <a:buChar char="§"/>
              <a:defRPr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2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D6C89E7-EEE0-37D4-244F-613C181533AE}"/>
              </a:ext>
            </a:extLst>
          </p:cNvPr>
          <p:cNvSpPr/>
          <p:nvPr/>
        </p:nvSpPr>
        <p:spPr>
          <a:xfrm>
            <a:off x="3644254" y="3179302"/>
            <a:ext cx="5993619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292500" tIns="29250" rIns="0" bIns="292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D42B26F-D6DE-CEF7-27D8-AB1F29DD79A2}"/>
              </a:ext>
            </a:extLst>
          </p:cNvPr>
          <p:cNvSpPr/>
          <p:nvPr/>
        </p:nvSpPr>
        <p:spPr>
          <a:xfrm>
            <a:off x="3422649" y="3122764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21" tIns="27861" rIns="55721" bIns="278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6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Route zwei Stecknadeln mit Weg mit einfarbiger Füllung">
            <a:extLst>
              <a:ext uri="{FF2B5EF4-FFF2-40B4-BE49-F238E27FC236}">
                <a16:creationId xmlns:a16="http://schemas.microsoft.com/office/drawing/2014/main" id="{17540618-D0CF-3E13-FDF4-E24B33E70A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12648" y="3212764"/>
            <a:ext cx="252000" cy="252000"/>
          </a:xfrm>
          <a:prstGeom prst="rect">
            <a:avLst/>
          </a:prstGeom>
        </p:spPr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19789" y="1718124"/>
            <a:ext cx="5802354" cy="487329"/>
          </a:xfrm>
        </p:spPr>
        <p:txBody>
          <a:bodyPr lIns="36000" tIns="90000" rIns="36000" bIns="36000">
            <a:spAutoFit/>
          </a:bodyPr>
          <a:lstStyle>
            <a:lvl1pPr marL="0" indent="0" algn="just">
              <a:lnSpc>
                <a:spcPts val="1381"/>
              </a:lnSpc>
              <a:spcBef>
                <a:spcPts val="0"/>
              </a:spcBef>
              <a:buNone/>
              <a:defRPr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sgangssituation &amp; Herausforderung (Fließtext, ca. 80 Wörter)</a:t>
            </a:r>
            <a:br>
              <a:rPr lang="de-DE" dirty="0"/>
            </a:br>
            <a:r>
              <a:rPr lang="de-DE" dirty="0"/>
              <a:t>Schriftgröße 1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DC961F9-FC46-E3B1-59C4-025FA58CF6EB}"/>
              </a:ext>
            </a:extLst>
          </p:cNvPr>
          <p:cNvSpPr/>
          <p:nvPr userDrawn="1"/>
        </p:nvSpPr>
        <p:spPr>
          <a:xfrm>
            <a:off x="3422649" y="1342661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21" tIns="27861" rIns="55721" bIns="278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6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fik 17" descr="Lupe mit einfarbiger Füllung">
            <a:extLst>
              <a:ext uri="{FF2B5EF4-FFF2-40B4-BE49-F238E27FC236}">
                <a16:creationId xmlns:a16="http://schemas.microsoft.com/office/drawing/2014/main" id="{72B80359-4D32-6F57-D7DE-1BA78CAB71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3512649" y="1432661"/>
            <a:ext cx="252000" cy="252000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ED6938C-DCC4-45F1-D332-E12181E1A878}"/>
              </a:ext>
            </a:extLst>
          </p:cNvPr>
          <p:cNvGrpSpPr/>
          <p:nvPr userDrawn="1"/>
        </p:nvGrpSpPr>
        <p:grpSpPr>
          <a:xfrm>
            <a:off x="247932" y="1246374"/>
            <a:ext cx="432000" cy="432000"/>
            <a:chOff x="295557" y="1274949"/>
            <a:chExt cx="432000" cy="43200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1D06FC2E-CEF9-2957-F00B-1BE607E49ECE}"/>
                </a:ext>
              </a:extLst>
            </p:cNvPr>
            <p:cNvSpPr/>
            <p:nvPr/>
          </p:nvSpPr>
          <p:spPr>
            <a:xfrm>
              <a:off x="295557" y="1274949"/>
              <a:ext cx="432000" cy="432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25" tIns="42862" rIns="85725" bIns="428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Grafik 29" descr="Aufwärtstrend mit einfarbiger Füllung">
              <a:extLst>
                <a:ext uri="{FF2B5EF4-FFF2-40B4-BE49-F238E27FC236}">
                  <a16:creationId xmlns:a16="http://schemas.microsoft.com/office/drawing/2014/main" id="{AAB911AD-2B48-71F8-2E22-4D1217181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5557" y="1364949"/>
              <a:ext cx="252000" cy="252000"/>
            </a:xfrm>
            <a:prstGeom prst="rect">
              <a:avLst/>
            </a:prstGeom>
          </p:spPr>
        </p:pic>
      </p:grp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719788" y="5089289"/>
            <a:ext cx="5802355" cy="9713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txBody>
          <a:bodyPr wrap="square" lIns="360000" tIns="180000" rIns="360000" bIns="18000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488"/>
              </a:spcBef>
              <a:buNone/>
              <a:defRPr sz="1463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272157" y="586860"/>
            <a:ext cx="9361686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15404" indent="0">
              <a:buNone/>
              <a:defRPr sz="1300">
                <a:solidFill>
                  <a:schemeClr val="tx2"/>
                </a:solidFill>
              </a:defRPr>
            </a:lvl2pPr>
            <a:lvl3pPr marL="438547" indent="0">
              <a:buNone/>
              <a:defRPr sz="1300">
                <a:solidFill>
                  <a:schemeClr val="tx2"/>
                </a:solidFill>
              </a:defRPr>
            </a:lvl3pPr>
            <a:lvl4pPr marL="653950" indent="0">
              <a:buNone/>
              <a:defRPr sz="1300">
                <a:solidFill>
                  <a:schemeClr val="tx2"/>
                </a:solidFill>
              </a:defRPr>
            </a:lvl4pPr>
            <a:lvl5pPr marL="877094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758890" y="-683511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58890" y="-373369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335" y="-990610"/>
            <a:ext cx="67275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950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58890" y="-990609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12" name="Textplatzhalter 33">
            <a:extLst>
              <a:ext uri="{FF2B5EF4-FFF2-40B4-BE49-F238E27FC236}">
                <a16:creationId xmlns:a16="http://schemas.microsoft.com/office/drawing/2014/main" id="{8DF4CF68-D840-AB43-DD04-B3A3A5F6347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276989" y="2045050"/>
            <a:ext cx="2948311" cy="360099"/>
          </a:xfrm>
        </p:spPr>
        <p:txBody>
          <a:bodyPr lIns="36000" tIns="0" rIns="3600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="1">
                <a:solidFill>
                  <a:schemeClr val="bg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20" name="Textplatzhalter 33">
            <a:extLst>
              <a:ext uri="{FF2B5EF4-FFF2-40B4-BE49-F238E27FC236}">
                <a16:creationId xmlns:a16="http://schemas.microsoft.com/office/drawing/2014/main" id="{CCC1D9B0-3E3B-6A81-82B1-B48232D6494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76989" y="2488247"/>
            <a:ext cx="2948311" cy="606780"/>
          </a:xfrm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300">
                <a:solidFill>
                  <a:schemeClr val="bg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232172" marR="0" lvl="0" indent="-232172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1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955C852B-03F5-26F0-4444-E04E0D0DC09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76989" y="3095028"/>
            <a:ext cx="2948311" cy="360099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2600" b="1" dirty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2</a:t>
            </a:r>
          </a:p>
        </p:txBody>
      </p:sp>
      <p:sp>
        <p:nvSpPr>
          <p:cNvPr id="23" name="Textplatzhalter 33">
            <a:extLst>
              <a:ext uri="{FF2B5EF4-FFF2-40B4-BE49-F238E27FC236}">
                <a16:creationId xmlns:a16="http://schemas.microsoft.com/office/drawing/2014/main" id="{CA377B26-3BA2-4654-6FCA-6098BB9E011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276989" y="3538225"/>
            <a:ext cx="2948311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300" dirty="0" smtClean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2</a:t>
            </a:r>
          </a:p>
        </p:txBody>
      </p:sp>
      <p:sp>
        <p:nvSpPr>
          <p:cNvPr id="24" name="Textplatzhalter 33">
            <a:extLst>
              <a:ext uri="{FF2B5EF4-FFF2-40B4-BE49-F238E27FC236}">
                <a16:creationId xmlns:a16="http://schemas.microsoft.com/office/drawing/2014/main" id="{9F356882-59BA-8A22-1C87-7353807F2708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76989" y="4145006"/>
            <a:ext cx="2948311" cy="360099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2600" b="1" dirty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3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0D6A690C-8E97-EFC0-430C-4028B1A71B8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276989" y="4588203"/>
            <a:ext cx="2948311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300" dirty="0" smtClean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3</a:t>
            </a:r>
          </a:p>
        </p:txBody>
      </p:sp>
      <p:sp>
        <p:nvSpPr>
          <p:cNvPr id="26" name="Textplatzhalter 33">
            <a:extLst>
              <a:ext uri="{FF2B5EF4-FFF2-40B4-BE49-F238E27FC236}">
                <a16:creationId xmlns:a16="http://schemas.microsoft.com/office/drawing/2014/main" id="{CDC28740-E260-DED9-33B1-8A6AC4CBBB7C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276989" y="5194984"/>
            <a:ext cx="2948311" cy="360099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2600" b="1" dirty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4</a:t>
            </a:r>
          </a:p>
        </p:txBody>
      </p:sp>
      <p:sp>
        <p:nvSpPr>
          <p:cNvPr id="31" name="Textplatzhalter 33">
            <a:extLst>
              <a:ext uri="{FF2B5EF4-FFF2-40B4-BE49-F238E27FC236}">
                <a16:creationId xmlns:a16="http://schemas.microsoft.com/office/drawing/2014/main" id="{28C3A46C-1471-B32F-D881-A63D1A5126CC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76989" y="5638181"/>
            <a:ext cx="2948311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300" dirty="0" smtClean="0">
                <a:solidFill>
                  <a:schemeClr val="bg1"/>
                </a:solidFill>
              </a:defRPr>
            </a:lvl1pPr>
          </a:lstStyle>
          <a:p>
            <a:pPr marL="215404" marR="0" lvl="0" indent="-215404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4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BD8967D-16E0-5F11-0352-4C03683458DE}"/>
              </a:ext>
            </a:extLst>
          </p:cNvPr>
          <p:cNvSpPr txBox="1"/>
          <p:nvPr userDrawn="1"/>
        </p:nvSpPr>
        <p:spPr>
          <a:xfrm>
            <a:off x="3644254" y="1435551"/>
            <a:ext cx="5255869" cy="200055"/>
          </a:xfrm>
          <a:prstGeom prst="rect">
            <a:avLst/>
          </a:prstGeom>
          <a:noFill/>
          <a:ln>
            <a:noFill/>
          </a:ln>
        </p:spPr>
        <p:txBody>
          <a:bodyPr wrap="square" lIns="292500" tIns="0" bIns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3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EB6F190-51CC-A0C4-6015-940E4AAD7C94}"/>
              </a:ext>
            </a:extLst>
          </p:cNvPr>
          <p:cNvSpPr txBox="1"/>
          <p:nvPr userDrawn="1"/>
        </p:nvSpPr>
        <p:spPr>
          <a:xfrm>
            <a:off x="3644254" y="3215655"/>
            <a:ext cx="5255869" cy="200055"/>
          </a:xfrm>
          <a:prstGeom prst="rect">
            <a:avLst/>
          </a:prstGeom>
          <a:noFill/>
          <a:ln>
            <a:noFill/>
          </a:ln>
        </p:spPr>
        <p:txBody>
          <a:bodyPr wrap="square" lIns="2925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300" b="1" kern="0" dirty="0">
                <a:solidFill>
                  <a:schemeClr val="bg1"/>
                </a:solidFill>
                <a:latin typeface="Arial" panose="020B0604020202020204"/>
              </a:rPr>
              <a:t>Lösungskonzep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72CD1A2-8A41-C2E4-100E-851AA96710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9837" t="12940" r="8202" b="14982"/>
          <a:stretch/>
        </p:blipFill>
        <p:spPr>
          <a:xfrm>
            <a:off x="335569" y="6529265"/>
            <a:ext cx="789373" cy="209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853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9851760"/>
              </p:ext>
            </p:extLst>
          </p:nvPr>
        </p:nvGraphicFramePr>
        <p:xfrm>
          <a:off x="1292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2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0190971" y="0"/>
            <a:ext cx="310346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0190971" y="434552"/>
            <a:ext cx="310346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0190971" y="900182"/>
            <a:ext cx="310346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0190971" y="1566324"/>
            <a:ext cx="310346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0190971" y="2027295"/>
            <a:ext cx="310346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0190971" y="2488266"/>
            <a:ext cx="310346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0190971" y="2955343"/>
            <a:ext cx="310346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0190971" y="3422420"/>
            <a:ext cx="310346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0190971" y="4088563"/>
            <a:ext cx="310346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0190971" y="4535740"/>
            <a:ext cx="310346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0190971" y="4982917"/>
            <a:ext cx="310346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0190971" y="5877272"/>
            <a:ext cx="310346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0190971" y="5430094"/>
            <a:ext cx="310346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7874" y="1062000"/>
            <a:ext cx="936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 Box 40">
            <a:extLst>
              <a:ext uri="{FF2B5EF4-FFF2-40B4-BE49-F238E27FC236}">
                <a16:creationId xmlns:a16="http://schemas.microsoft.com/office/drawing/2014/main" id="{86C89443-E724-9B3C-59C6-E254F912F64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615113"/>
            <a:ext cx="731482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300">
                <a:solidFill>
                  <a:srgbClr val="000000"/>
                </a:solidFill>
                <a:cs typeface="Arial" charset="0"/>
              </a:rPr>
              <a:t>© TCW</a:t>
            </a:r>
          </a:p>
        </p:txBody>
      </p:sp>
      <p:sp>
        <p:nvSpPr>
          <p:cNvPr id="12" name="Line 41">
            <a:extLst>
              <a:ext uri="{FF2B5EF4-FFF2-40B4-BE49-F238E27FC236}">
                <a16:creationId xmlns:a16="http://schemas.microsoft.com/office/drawing/2014/main" id="{E482F987-9410-472E-C6B1-FFDE551D391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62940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 sz="1950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BA455836-5569-45D3-8E1D-896280AB108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144000" y="6629400"/>
            <a:ext cx="6096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5CDAAB-5E5C-4992-B689-8724DB17BE0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</p:sldLayoutIdLst>
  <p:hf hdr="0" ftr="0" dt="0"/>
  <p:txStyles>
    <p:titleStyle>
      <a:lvl1pPr algn="l" defTabSz="990545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190" indent="-287190" algn="l" defTabSz="990545" rtl="0" eaLnBrk="1" latinLnBrk="0" hangingPunct="1">
        <a:lnSpc>
          <a:spcPct val="90000"/>
        </a:lnSpc>
        <a:spcBef>
          <a:spcPts val="1083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84697" indent="-297509" algn="l" defTabSz="990545" rtl="0" eaLnBrk="1" latinLnBrk="0" hangingPunct="1">
        <a:lnSpc>
          <a:spcPct val="90000"/>
        </a:lnSpc>
        <a:spcBef>
          <a:spcPts val="542"/>
        </a:spcBef>
        <a:buFont typeface="Symbol" panose="05050102010706020507" pitchFamily="18" charset="2"/>
        <a:buChar char="-"/>
        <a:tabLst>
          <a:tab pos="484953" algn="l"/>
        </a:tabLst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871886" indent="-287190" algn="l" defTabSz="990545" rtl="0" eaLnBrk="1" latinLnBrk="0" hangingPunct="1">
        <a:lnSpc>
          <a:spcPct val="90000"/>
        </a:lnSpc>
        <a:spcBef>
          <a:spcPts val="542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169393" indent="-297509" algn="l" defTabSz="990545" rtl="0" eaLnBrk="1" latinLnBrk="0" hangingPunct="1">
        <a:lnSpc>
          <a:spcPct val="90000"/>
        </a:lnSpc>
        <a:spcBef>
          <a:spcPts val="542"/>
        </a:spcBef>
        <a:buFont typeface="Symbol" panose="05050102010706020507" pitchFamily="18" charset="2"/>
        <a:buChar char="-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56584" indent="-287190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723998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1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45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7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179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7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120">
          <p15:clr>
            <a:srgbClr val="F26B43"/>
          </p15:clr>
        </p15:guide>
        <p15:guide id="6" pos="60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B133E706-D3A3-E4F7-1207-B42F2CEB11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285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33E706-D3A3-E4F7-1207-B42F2CEB1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>
            <a:extLst>
              <a:ext uri="{FF2B5EF4-FFF2-40B4-BE49-F238E27FC236}">
                <a16:creationId xmlns:a16="http://schemas.microsoft.com/office/drawing/2014/main" id="{24F7045C-182E-9C63-4626-E1CC35E30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5C78752-286C-E6DB-E837-506B1DD2AB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7F828D4-CEC3-0AB2-8177-B44D271C90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F91AF-E46E-B02F-75A3-F3D4C2CDA0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487D061-494A-CBFF-6670-93748101491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1C8FCB0E-1B9C-D766-4CE0-242BF376F0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FC5FEF20-D875-2819-C308-8BA4A9F67F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0662D20-E7EA-94E8-CE35-D64F732ED6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B70229BF-5656-1A67-F4CD-A1992D2DA3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8FED24F5-74B2-A5F9-44A3-41132BE0A8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C357C365-3772-632E-D7B4-DAB15EBE40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57ED6C0-85FA-E18B-C97B-7BDA6303E1B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5D17CB07-8E85-6DFE-676F-7CD7AD713EF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2254B03-D951-DEA0-5DDB-1C2A9C6612C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4A4ED5D3-290F-B78D-6081-73B61916B1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320B4206-F6A0-D74F-E08E-4CED39B14E9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7DDE92EE-E4B2-308D-D987-58F814F34D5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0443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_UPDATEPAGENUMBERS" val="1"/>
  <p:tag name="EE4P_LANGUAGE_ID" val="1031"/>
  <p:tag name="THINKCELLPRESENTATIONDONOTDELETE" val="&lt;?xml version=&quot;1.0&quot; encoding=&quot;UTF-16&quot; standalone=&quot;yes&quot;?&gt;&lt;root reqver=&quot;28224&quot;&gt;&lt;version val=&quot;355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Arial&quot; bold=&quot;0&quot; italic=&quot;0&quot; color=&quot;13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2024_02_TCW Master_uvw¦Agenda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Single=&quot;2024_02_TCW Master_uvw¦Agenda&quot; customLayoutNameBackup=&quot;2024_02_TCW Master_uvw¦Agenda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5&quot; hideSeparatingSlides=&quot;0&quot; createSections=&quot;1&quot; singleSlideId=&quot;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8.19611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2c10ea2f-6cc8-41a0-af1f-608eca67e924&quot; parentId=&quot;&quot; level=&quot;1&quot; generateAgendaSlide=&quot;1&quot; showAgendaItem=&quot;1&quot; isBreak=&quot;0&quot; topic=&quot;Trends und Herausforderungen&quot; agendaSlideId=&quot;f8f5ce5f-e22f-44f6-af4f-ae3921c4d50d&quot; sectionId=&quot;{3C4EA6C9-19C3-42C3-8EFA-166442AC8EB7}&quot; /&gt;&lt;item duration=&quot;30&quot; id=&quot;c15a8229-ed8e-4495-9cb8-851062af2313&quot; parentId=&quot;&quot; level=&quot;1&quot; generateAgendaSlide=&quot;1&quot; showAgendaItem=&quot;1&quot; isBreak=&quot;0&quot; topic=&quot;Leitlinien für eine kundenwertorientierte Produktgestaltung&quot; agendaSlideId=&quot;7703d801-f440-4bf7-ae49-9fb18be2f873&quot; sectionId=&quot;{232E3955-4C74-4716-A59D-66795BD8DFD6}&quot; /&gt;&lt;item duration=&quot;30&quot; id=&quot;acb12e6d-2fb4-4be5-b374-ce994dc0cd6c&quot; parentId=&quot;&quot; level=&quot;1&quot; generateAgendaSlide=&quot;1&quot; showAgendaItem=&quot;1&quot; isBreak=&quot;0&quot; topic=&quot;Analysefelder für den Einsatz der Conjoint Methode bei Investitionsgütern&quot; agendaSlideId=&quot;5922e495-f4ec-477a-8ae5-4610f561b812&quot; sectionId=&quot;{55311AB5-D3C0-4EF2-A3E3-A92CFD5C0FEF}&quot; /&gt;&lt;item duration=&quot;30&quot; id=&quot;cb9a7209-2e2f-493b-ac3c-d0bbb225cb58&quot; parentId=&quot;&quot; level=&quot;1&quot; generateAgendaSlide=&quot;1&quot; showAgendaItem=&quot;1&quot; isBreak=&quot;0&quot; topic=&quot;Conjoint Analyse für Investitionsgüter&quot; agendaSlideId=&quot;73b977ae-0dfc-4005-b781-336c1012e59e&quot; sectionId=&quot;{E8623B6D-6FD9-4EFB-935B-DDEB42544553}&quot; /&gt;&lt;item duration=&quot;30&quot; id=&quot;c614bcfe-5e70-494d-8bb4-d82e2a015819&quot; parentId=&quot;&quot; level=&quot;1&quot; generateAgendaSlide=&quot;1&quot; showAgendaItem=&quot;1&quot; isBreak=&quot;0&quot; topic=&quot;Fallstudien&quot; agendaSlideId=&quot;c4fcabf8-a95b-4992-b3a4-33ff1b6639fe&quot; sectionId=&quot;{EF28564B-B9F4-4C3A-AAEE-826907E2EBFE}&quot; /&gt;&lt;item duration=&quot;30&quot; id=&quot;7ec4dd07-ad3e-438d-8c3b-06ac431d7050&quot; parentId=&quot;&quot; level=&quot;1&quot; generateAgendaSlide=&quot;1&quot; showAgendaItem=&quot;1&quot; isBreak=&quot;0&quot; topic=&quot;Literatur&quot; agendaSlideId=&quot;9fdc3ef6-b6c4-4307-9554-6d7eddead5a9&quot; sectionId=&quot;{1418853E-7045-440F-82AB-541315EC943D}&quot; /&gt;&lt;/items&gt;&lt;/agenda&gt;&lt;/contents&gt;&lt;/ee4p&gt;"/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52e99c5-c73e-40d7-9f9f-cd33fe4ea684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d57978ca-0a8d-4f98-892d-e6cad23042fe">
      <Terms xmlns="http://schemas.microsoft.com/office/infopath/2007/PartnerControls"/>
    </lcf76f155ced4ddcb4097134ff3c332f>
    <TaxCatchAll xmlns="352e99c5-c73e-40d7-9f9f-cd33fe4ea68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864E6AA9CDD8E49A38DF9217DD54C55" ma:contentTypeVersion="14" ma:contentTypeDescription="Ein neues Dokument erstellen." ma:contentTypeScope="" ma:versionID="d469bdefe6ad3ea77f6d7bc90f0c9674">
  <xsd:schema xmlns:xsd="http://www.w3.org/2001/XMLSchema" xmlns:xs="http://www.w3.org/2001/XMLSchema" xmlns:p="http://schemas.microsoft.com/office/2006/metadata/properties" xmlns:ns2="d57978ca-0a8d-4f98-892d-e6cad23042fe" xmlns:ns3="352e99c5-c73e-40d7-9f9f-cd33fe4ea684" targetNamespace="http://schemas.microsoft.com/office/2006/metadata/properties" ma:root="true" ma:fieldsID="43ebe66bc056dbe25c9a9b529b689335" ns2:_="" ns3:_="">
    <xsd:import namespace="d57978ca-0a8d-4f98-892d-e6cad23042fe"/>
    <xsd:import namespace="352e99c5-c73e-40d7-9f9f-cd33fe4ea6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978ca-0a8d-4f98-892d-e6cad23042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e99c5-c73e-40d7-9f9f-cd33fe4ea684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21cd642-c721-4161-8559-8358c14708fc}" ma:internalName="TaxCatchAll" ma:showField="CatchAllData" ma:web="352e99c5-c73e-40d7-9f9f-cd33fe4ea6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34EEC2-295B-443A-8029-DF87F749AE1B}">
  <ds:schemaRefs>
    <ds:schemaRef ds:uri="352e99c5-c73e-40d7-9f9f-cd33fe4ea684"/>
    <ds:schemaRef ds:uri="d57978ca-0a8d-4f98-892d-e6cad23042f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F18FED-DFEE-4CC2-B4C2-6DB6E369D771}">
  <ds:schemaRefs>
    <ds:schemaRef ds:uri="352e99c5-c73e-40d7-9f9f-cd33fe4ea684"/>
    <ds:schemaRef ds:uri="d57978ca-0a8d-4f98-892d-e6cad23042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A4-Papier (210 x 297 mm)</PresentationFormat>
  <Paragraphs>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dlegger, Moritz</dc:creator>
  <cp:keywords>, docId:AEBEB4E5AFF77D24A7487559A5952AD8</cp:keywords>
  <cp:lastModifiedBy>vonWaldow, Ulrich</cp:lastModifiedBy>
  <cp:revision>1</cp:revision>
  <cp:lastPrinted>1999-12-31T23:00:00Z</cp:lastPrinted>
  <dcterms:created xsi:type="dcterms:W3CDTF">2024-08-06T09:12:55Z</dcterms:created>
  <dcterms:modified xsi:type="dcterms:W3CDTF">2024-09-05T12:0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864E6AA9CDD8E49A38DF9217DD54C55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